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notesMasterIdLst>
    <p:notesMasterId r:id="rId20"/>
  </p:notesMasterIdLst>
  <p:handoutMasterIdLst>
    <p:handoutMasterId r:id="rId21"/>
  </p:handoutMasterIdLst>
  <p:sldIdLst>
    <p:sldId id="256" r:id="rId2"/>
    <p:sldId id="306" r:id="rId3"/>
    <p:sldId id="323" r:id="rId4"/>
    <p:sldId id="324" r:id="rId5"/>
    <p:sldId id="325" r:id="rId6"/>
    <p:sldId id="326" r:id="rId7"/>
    <p:sldId id="327" r:id="rId8"/>
    <p:sldId id="328" r:id="rId9"/>
    <p:sldId id="329" r:id="rId10"/>
    <p:sldId id="330" r:id="rId11"/>
    <p:sldId id="331" r:id="rId12"/>
    <p:sldId id="332" r:id="rId13"/>
    <p:sldId id="333" r:id="rId14"/>
    <p:sldId id="334" r:id="rId15"/>
    <p:sldId id="335" r:id="rId16"/>
    <p:sldId id="336" r:id="rId17"/>
    <p:sldId id="337" r:id="rId18"/>
    <p:sldId id="338" r:id="rId19"/>
  </p:sldIdLst>
  <p:sldSz cx="12192000" cy="6858000"/>
  <p:notesSz cx="6858000" cy="9144000"/>
  <p:embeddedFontLst>
    <p:embeddedFont>
      <p:font typeface="AvantGardeGothicCTT" panose="020B0402020202020204" pitchFamily="34" charset="-52"/>
      <p:regular r:id="rId22"/>
    </p:embeddedFont>
    <p:embeddedFont>
      <p:font typeface="Verdana" panose="020B0604030504040204" pitchFamily="34" charset="0"/>
      <p:regular r:id="rId23"/>
      <p:bold r:id="rId24"/>
      <p:italic r:id="rId25"/>
      <p:boldItalic r:id="rId26"/>
    </p:embeddedFont>
    <p:embeddedFont>
      <p:font typeface="Kudryashev Display Contr" panose="02030503080506020303" pitchFamily="18" charset="-52"/>
      <p:regular r:id="rId27"/>
    </p:embeddedFont>
    <p:embeddedFont>
      <p:font typeface="Century Gothic" panose="020B0502020202020204" pitchFamily="34" charset="0"/>
      <p:regular r:id="rId28"/>
      <p:bold r:id="rId29"/>
      <p:italic r:id="rId30"/>
      <p:boldItalic r:id="rId31"/>
    </p:embeddedFont>
    <p:embeddedFont>
      <p:font typeface="Calibri" panose="020F0502020204030204" pitchFamily="34" charset="0"/>
      <p:regular r:id="rId32"/>
      <p:bold r:id="rId33"/>
      <p:italic r:id="rId34"/>
      <p:boldItalic r:id="rId35"/>
    </p:embeddedFont>
    <p:embeddedFont>
      <p:font typeface="GPN_DIN Regular" panose="020B0504020202020204" pitchFamily="34" charset="-52"/>
      <p:regular r:id="rId36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2F45"/>
    <a:srgbClr val="245B85"/>
    <a:srgbClr val="C76362"/>
    <a:srgbClr val="FFD5D5"/>
    <a:srgbClr val="9FD036"/>
    <a:srgbClr val="E4FFAF"/>
    <a:srgbClr val="3FA1C7"/>
    <a:srgbClr val="C3DFFF"/>
    <a:srgbClr val="06C98E"/>
    <a:srgbClr val="B5FF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3" autoAdjust="0"/>
    <p:restoredTop sz="82085" autoAdjust="0"/>
  </p:normalViewPr>
  <p:slideViewPr>
    <p:cSldViewPr snapToGrid="0" showGuides="1">
      <p:cViewPr>
        <p:scale>
          <a:sx n="66" d="100"/>
          <a:sy n="66" d="100"/>
        </p:scale>
        <p:origin x="943" y="5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50" d="100"/>
        <a:sy n="50" d="100"/>
      </p:scale>
      <p:origin x="0" y="0"/>
    </p:cViewPr>
  </p:notesTextViewPr>
  <p:notesViewPr>
    <p:cSldViewPr snapToGrid="0" showGuides="1">
      <p:cViewPr varScale="1">
        <p:scale>
          <a:sx n="93" d="100"/>
          <a:sy n="93" d="100"/>
        </p:scale>
        <p:origin x="2976" y="76"/>
      </p:cViewPr>
      <p:guideLst>
        <p:guide orient="horz" pos="2880"/>
        <p:guide pos="2160"/>
      </p:guideLst>
    </p:cSldViewPr>
  </p:notesViewPr>
  <p:gridSpacing cx="360000" cy="360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5.fntdata"/><Relationship Id="rId39" Type="http://schemas.openxmlformats.org/officeDocument/2006/relationships/theme" Target="theme/theme1.xml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10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DA836-13C3-4D45-B427-6F02BC9E5875}" type="datetimeFigureOut">
              <a:rPr lang="ru-RU" smtClean="0"/>
              <a:t>11.10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9A20B9-E5C2-4DCD-9245-6F04630E1B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410538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206EAE-65A9-4008-A7C0-41D6999F0818}" type="datetimeFigureOut">
              <a:rPr lang="ru-RU" smtClean="0"/>
              <a:t>11.10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265BF-DE2F-44D6-BBD2-DDF5A0CA2EB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137610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940987-445A-4F7E-A26D-D9DEB7198987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63532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940987-445A-4F7E-A26D-D9DEB7198987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1352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940987-445A-4F7E-A26D-D9DEB7198987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9853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w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итульный ли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олилиния 1"/>
          <p:cNvSpPr/>
          <p:nvPr userDrawn="1"/>
        </p:nvSpPr>
        <p:spPr>
          <a:xfrm>
            <a:off x="4995081" y="3527946"/>
            <a:ext cx="5349923" cy="3330054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349923" h="3330054">
                <a:moveTo>
                  <a:pt x="0" y="3330054"/>
                </a:moveTo>
                <a:cubicBezTo>
                  <a:pt x="31846" y="2213212"/>
                  <a:pt x="759726" y="52317"/>
                  <a:pt x="5349923" y="0"/>
                </a:cubicBezTo>
              </a:path>
            </a:pathLst>
          </a:custGeom>
          <a:noFill/>
          <a:ln w="25400" cap="rnd">
            <a:gradFill>
              <a:gsLst>
                <a:gs pos="6000">
                  <a:schemeClr val="accent2"/>
                </a:gs>
                <a:gs pos="82000">
                  <a:srgbClr val="C4E5F7">
                    <a:alpha val="0"/>
                  </a:srgb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олилиния 2"/>
          <p:cNvSpPr/>
          <p:nvPr userDrawn="1"/>
        </p:nvSpPr>
        <p:spPr>
          <a:xfrm>
            <a:off x="5179960" y="3527946"/>
            <a:ext cx="5262837" cy="2872854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262837"/>
              <a:gd name="connsiteY0" fmla="*/ 2872854 h 2872854"/>
              <a:gd name="connsiteX1" fmla="*/ 5262837 w 5262837"/>
              <a:gd name="connsiteY1" fmla="*/ 0 h 2872854"/>
              <a:gd name="connsiteX0" fmla="*/ 0 w 5262837"/>
              <a:gd name="connsiteY0" fmla="*/ 2872854 h 2872854"/>
              <a:gd name="connsiteX1" fmla="*/ 5262837 w 5262837"/>
              <a:gd name="connsiteY1" fmla="*/ 0 h 2872854"/>
              <a:gd name="connsiteX0" fmla="*/ 0 w 5262837"/>
              <a:gd name="connsiteY0" fmla="*/ 2872854 h 2872854"/>
              <a:gd name="connsiteX1" fmla="*/ 5262837 w 5262837"/>
              <a:gd name="connsiteY1" fmla="*/ 0 h 2872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262837" h="2872854">
                <a:moveTo>
                  <a:pt x="0" y="2872854"/>
                </a:moveTo>
                <a:cubicBezTo>
                  <a:pt x="31846" y="1875755"/>
                  <a:pt x="1499954" y="30545"/>
                  <a:pt x="5262837" y="0"/>
                </a:cubicBezTo>
              </a:path>
            </a:pathLst>
          </a:custGeom>
          <a:noFill/>
          <a:ln w="19050">
            <a:gradFill>
              <a:gsLst>
                <a:gs pos="30000">
                  <a:schemeClr val="accent1"/>
                </a:gs>
                <a:gs pos="53000">
                  <a:schemeClr val="accent2">
                    <a:alpha val="1000"/>
                    <a:lumMod val="37000"/>
                    <a:lumOff val="6300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олилиния 3"/>
          <p:cNvSpPr/>
          <p:nvPr userDrawn="1"/>
        </p:nvSpPr>
        <p:spPr>
          <a:xfrm>
            <a:off x="5292701" y="3527946"/>
            <a:ext cx="5349923" cy="3330054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349923" h="3330054">
                <a:moveTo>
                  <a:pt x="0" y="3330054"/>
                </a:moveTo>
                <a:cubicBezTo>
                  <a:pt x="31846" y="2213212"/>
                  <a:pt x="759726" y="52317"/>
                  <a:pt x="5349923" y="0"/>
                </a:cubicBezTo>
              </a:path>
            </a:pathLst>
          </a:custGeom>
          <a:noFill/>
          <a:ln w="19050" cap="rnd">
            <a:gradFill>
              <a:gsLst>
                <a:gs pos="71000">
                  <a:schemeClr val="accent4"/>
                </a:gs>
                <a:gs pos="95000">
                  <a:schemeClr val="accent4">
                    <a:lumMod val="35000"/>
                    <a:lumOff val="65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олилиния 4"/>
          <p:cNvSpPr/>
          <p:nvPr userDrawn="1"/>
        </p:nvSpPr>
        <p:spPr>
          <a:xfrm>
            <a:off x="5426027" y="3527946"/>
            <a:ext cx="5349923" cy="3330054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349923" h="3330054">
                <a:moveTo>
                  <a:pt x="0" y="3330054"/>
                </a:moveTo>
                <a:cubicBezTo>
                  <a:pt x="31846" y="2213212"/>
                  <a:pt x="759726" y="52317"/>
                  <a:pt x="5349923" y="0"/>
                </a:cubicBezTo>
              </a:path>
            </a:pathLst>
          </a:custGeom>
          <a:noFill/>
          <a:ln w="19050">
            <a:gradFill>
              <a:gsLst>
                <a:gs pos="52000">
                  <a:schemeClr val="accent1"/>
                </a:gs>
                <a:gs pos="94000">
                  <a:schemeClr val="accent1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олилиния 5"/>
          <p:cNvSpPr/>
          <p:nvPr userDrawn="1"/>
        </p:nvSpPr>
        <p:spPr>
          <a:xfrm>
            <a:off x="5946910" y="3514298"/>
            <a:ext cx="5349929" cy="3330054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349929" h="3330054">
                <a:moveTo>
                  <a:pt x="6" y="3330054"/>
                </a:moveTo>
                <a:cubicBezTo>
                  <a:pt x="-2268" y="2438400"/>
                  <a:pt x="643726" y="31845"/>
                  <a:pt x="5349929" y="0"/>
                </a:cubicBezTo>
              </a:path>
            </a:pathLst>
          </a:custGeom>
          <a:noFill/>
          <a:ln w="25400" cap="rnd">
            <a:gradFill>
              <a:gsLst>
                <a:gs pos="42000">
                  <a:schemeClr val="accent2"/>
                </a:gs>
                <a:gs pos="99000">
                  <a:srgbClr val="C4E5F7">
                    <a:alpha val="0"/>
                  </a:srgb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олилиния 6"/>
          <p:cNvSpPr/>
          <p:nvPr userDrawn="1"/>
        </p:nvSpPr>
        <p:spPr>
          <a:xfrm>
            <a:off x="6601125" y="3534770"/>
            <a:ext cx="5349923" cy="3330054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349923" h="3330054">
                <a:moveTo>
                  <a:pt x="0" y="3330054"/>
                </a:moveTo>
                <a:cubicBezTo>
                  <a:pt x="31845" y="1646830"/>
                  <a:pt x="643720" y="31845"/>
                  <a:pt x="5349923" y="0"/>
                </a:cubicBezTo>
              </a:path>
            </a:pathLst>
          </a:custGeom>
          <a:noFill/>
          <a:ln w="19050">
            <a:gradFill>
              <a:gsLst>
                <a:gs pos="23000">
                  <a:schemeClr val="accent4"/>
                </a:gs>
                <a:gs pos="45000">
                  <a:schemeClr val="accent4">
                    <a:lumMod val="35000"/>
                    <a:lumOff val="65000"/>
                    <a:alpha val="0"/>
                  </a:schemeClr>
                </a:gs>
              </a:gsLst>
              <a:lin ang="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олилиния 7"/>
          <p:cNvSpPr/>
          <p:nvPr userDrawn="1"/>
        </p:nvSpPr>
        <p:spPr>
          <a:xfrm>
            <a:off x="6698918" y="3541594"/>
            <a:ext cx="5349923" cy="3330054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349923" h="3330054">
                <a:moveTo>
                  <a:pt x="0" y="3330054"/>
                </a:moveTo>
                <a:cubicBezTo>
                  <a:pt x="31845" y="1646830"/>
                  <a:pt x="643720" y="31845"/>
                  <a:pt x="5349923" y="0"/>
                </a:cubicBezTo>
              </a:path>
            </a:pathLst>
          </a:custGeom>
          <a:noFill/>
          <a:ln w="19050">
            <a:gradFill>
              <a:gsLst>
                <a:gs pos="34000">
                  <a:schemeClr val="accent1"/>
                </a:gs>
                <a:gs pos="82000">
                  <a:schemeClr val="accent1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олилиния 8"/>
          <p:cNvSpPr/>
          <p:nvPr userDrawn="1"/>
        </p:nvSpPr>
        <p:spPr>
          <a:xfrm>
            <a:off x="7617110" y="3519204"/>
            <a:ext cx="5621878" cy="3338796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260295 w 5610218"/>
              <a:gd name="connsiteY0" fmla="*/ 3330054 h 3330054"/>
              <a:gd name="connsiteX1" fmla="*/ 5610218 w 5610218"/>
              <a:gd name="connsiteY1" fmla="*/ 0 h 3330054"/>
              <a:gd name="connsiteX0" fmla="*/ 271955 w 5621878"/>
              <a:gd name="connsiteY0" fmla="*/ 3338796 h 3338796"/>
              <a:gd name="connsiteX1" fmla="*/ 5621878 w 5621878"/>
              <a:gd name="connsiteY1" fmla="*/ 8742 h 3338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621878" h="3338796">
                <a:moveTo>
                  <a:pt x="271955" y="3338796"/>
                </a:moveTo>
                <a:cubicBezTo>
                  <a:pt x="-672014" y="625167"/>
                  <a:pt x="777790" y="-90041"/>
                  <a:pt x="5621878" y="8742"/>
                </a:cubicBezTo>
              </a:path>
            </a:pathLst>
          </a:custGeom>
          <a:noFill/>
          <a:ln w="19050">
            <a:gradFill>
              <a:gsLst>
                <a:gs pos="35000">
                  <a:schemeClr val="accent4"/>
                </a:gs>
                <a:gs pos="81000">
                  <a:schemeClr val="accent4">
                    <a:lumMod val="35000"/>
                    <a:lumOff val="65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олилиния 9"/>
          <p:cNvSpPr/>
          <p:nvPr userDrawn="1"/>
        </p:nvSpPr>
        <p:spPr>
          <a:xfrm>
            <a:off x="7755802" y="3510368"/>
            <a:ext cx="5727246" cy="3340808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260295 w 5610218"/>
              <a:gd name="connsiteY0" fmla="*/ 3330054 h 3330054"/>
              <a:gd name="connsiteX1" fmla="*/ 5610218 w 5610218"/>
              <a:gd name="connsiteY1" fmla="*/ 0 h 3330054"/>
              <a:gd name="connsiteX0" fmla="*/ 271955 w 5621878"/>
              <a:gd name="connsiteY0" fmla="*/ 3338796 h 3338796"/>
              <a:gd name="connsiteX1" fmla="*/ 5621878 w 5621878"/>
              <a:gd name="connsiteY1" fmla="*/ 8742 h 3338796"/>
              <a:gd name="connsiteX0" fmla="*/ 377323 w 5727246"/>
              <a:gd name="connsiteY0" fmla="*/ 3340808 h 3340808"/>
              <a:gd name="connsiteX1" fmla="*/ 5727246 w 5727246"/>
              <a:gd name="connsiteY1" fmla="*/ 10754 h 3340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727246" h="3340808">
                <a:moveTo>
                  <a:pt x="377323" y="3340808"/>
                </a:moveTo>
                <a:cubicBezTo>
                  <a:pt x="-842417" y="453008"/>
                  <a:pt x="883158" y="-88029"/>
                  <a:pt x="5727246" y="10754"/>
                </a:cubicBezTo>
              </a:path>
            </a:pathLst>
          </a:custGeom>
          <a:noFill/>
          <a:ln w="19050">
            <a:gradFill>
              <a:gsLst>
                <a:gs pos="50000">
                  <a:schemeClr val="accent1"/>
                </a:gs>
                <a:gs pos="88000">
                  <a:schemeClr val="accent1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олилиния 10"/>
          <p:cNvSpPr/>
          <p:nvPr userDrawn="1"/>
        </p:nvSpPr>
        <p:spPr>
          <a:xfrm>
            <a:off x="7984937" y="3445373"/>
            <a:ext cx="6103107" cy="3419451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260295 w 5610218"/>
              <a:gd name="connsiteY0" fmla="*/ 3330054 h 3330054"/>
              <a:gd name="connsiteX1" fmla="*/ 5610218 w 5610218"/>
              <a:gd name="connsiteY1" fmla="*/ 0 h 3330054"/>
              <a:gd name="connsiteX0" fmla="*/ 271955 w 5621878"/>
              <a:gd name="connsiteY0" fmla="*/ 3338796 h 3338796"/>
              <a:gd name="connsiteX1" fmla="*/ 5621878 w 5621878"/>
              <a:gd name="connsiteY1" fmla="*/ 8742 h 3338796"/>
              <a:gd name="connsiteX0" fmla="*/ 377323 w 5727246"/>
              <a:gd name="connsiteY0" fmla="*/ 3340808 h 3340808"/>
              <a:gd name="connsiteX1" fmla="*/ 5727246 w 5727246"/>
              <a:gd name="connsiteY1" fmla="*/ 10754 h 3340808"/>
              <a:gd name="connsiteX0" fmla="*/ 753184 w 6103107"/>
              <a:gd name="connsiteY0" fmla="*/ 3344266 h 3344266"/>
              <a:gd name="connsiteX1" fmla="*/ 6103107 w 6103107"/>
              <a:gd name="connsiteY1" fmla="*/ 14212 h 334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103107" h="3344266">
                <a:moveTo>
                  <a:pt x="753184" y="3344266"/>
                </a:moveTo>
                <a:cubicBezTo>
                  <a:pt x="-1395470" y="260523"/>
                  <a:pt x="1259019" y="-84571"/>
                  <a:pt x="6103107" y="14212"/>
                </a:cubicBezTo>
              </a:path>
            </a:pathLst>
          </a:custGeom>
          <a:noFill/>
          <a:ln w="19050">
            <a:gradFill>
              <a:gsLst>
                <a:gs pos="62000">
                  <a:schemeClr val="accent1"/>
                </a:gs>
                <a:gs pos="75000">
                  <a:schemeClr val="accent1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олилиния 11"/>
          <p:cNvSpPr/>
          <p:nvPr userDrawn="1"/>
        </p:nvSpPr>
        <p:spPr>
          <a:xfrm>
            <a:off x="8048283" y="3515674"/>
            <a:ext cx="6374294" cy="3349149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260295 w 5610218"/>
              <a:gd name="connsiteY0" fmla="*/ 3330054 h 3330054"/>
              <a:gd name="connsiteX1" fmla="*/ 5610218 w 5610218"/>
              <a:gd name="connsiteY1" fmla="*/ 0 h 3330054"/>
              <a:gd name="connsiteX0" fmla="*/ 271955 w 5621878"/>
              <a:gd name="connsiteY0" fmla="*/ 3338796 h 3338796"/>
              <a:gd name="connsiteX1" fmla="*/ 5621878 w 5621878"/>
              <a:gd name="connsiteY1" fmla="*/ 8742 h 3338796"/>
              <a:gd name="connsiteX0" fmla="*/ 377323 w 5727246"/>
              <a:gd name="connsiteY0" fmla="*/ 3340808 h 3340808"/>
              <a:gd name="connsiteX1" fmla="*/ 5727246 w 5727246"/>
              <a:gd name="connsiteY1" fmla="*/ 10754 h 3340808"/>
              <a:gd name="connsiteX0" fmla="*/ 753184 w 6103107"/>
              <a:gd name="connsiteY0" fmla="*/ 3344266 h 3344266"/>
              <a:gd name="connsiteX1" fmla="*/ 6103107 w 6103107"/>
              <a:gd name="connsiteY1" fmla="*/ 14212 h 3344266"/>
              <a:gd name="connsiteX0" fmla="*/ 1024371 w 6374294"/>
              <a:gd name="connsiteY0" fmla="*/ 3349149 h 3349149"/>
              <a:gd name="connsiteX1" fmla="*/ 6374294 w 6374294"/>
              <a:gd name="connsiteY1" fmla="*/ 19095 h 334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374294" h="3349149">
                <a:moveTo>
                  <a:pt x="1024371" y="3349149"/>
                </a:moveTo>
                <a:cubicBezTo>
                  <a:pt x="-1770169" y="91234"/>
                  <a:pt x="1530206" y="-79688"/>
                  <a:pt x="6374294" y="19095"/>
                </a:cubicBezTo>
              </a:path>
            </a:pathLst>
          </a:custGeom>
          <a:noFill/>
          <a:ln w="25400" cap="rnd">
            <a:gradFill>
              <a:gsLst>
                <a:gs pos="46000">
                  <a:schemeClr val="accent2"/>
                </a:gs>
                <a:gs pos="72000">
                  <a:srgbClr val="C4E5F7">
                    <a:alpha val="0"/>
                  </a:srgb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олилиния 12"/>
          <p:cNvSpPr/>
          <p:nvPr userDrawn="1"/>
        </p:nvSpPr>
        <p:spPr>
          <a:xfrm>
            <a:off x="8127476" y="3476556"/>
            <a:ext cx="6659008" cy="3367362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260295 w 5610218"/>
              <a:gd name="connsiteY0" fmla="*/ 3330054 h 3330054"/>
              <a:gd name="connsiteX1" fmla="*/ 5610218 w 5610218"/>
              <a:gd name="connsiteY1" fmla="*/ 0 h 3330054"/>
              <a:gd name="connsiteX0" fmla="*/ 271955 w 5621878"/>
              <a:gd name="connsiteY0" fmla="*/ 3338796 h 3338796"/>
              <a:gd name="connsiteX1" fmla="*/ 5621878 w 5621878"/>
              <a:gd name="connsiteY1" fmla="*/ 8742 h 3338796"/>
              <a:gd name="connsiteX0" fmla="*/ 377323 w 5727246"/>
              <a:gd name="connsiteY0" fmla="*/ 3340808 h 3340808"/>
              <a:gd name="connsiteX1" fmla="*/ 5727246 w 5727246"/>
              <a:gd name="connsiteY1" fmla="*/ 10754 h 3340808"/>
              <a:gd name="connsiteX0" fmla="*/ 753184 w 6103107"/>
              <a:gd name="connsiteY0" fmla="*/ 3344266 h 3344266"/>
              <a:gd name="connsiteX1" fmla="*/ 6103107 w 6103107"/>
              <a:gd name="connsiteY1" fmla="*/ 14212 h 3344266"/>
              <a:gd name="connsiteX0" fmla="*/ 1024371 w 6374294"/>
              <a:gd name="connsiteY0" fmla="*/ 3349149 h 3349149"/>
              <a:gd name="connsiteX1" fmla="*/ 6374294 w 6374294"/>
              <a:gd name="connsiteY1" fmla="*/ 19095 h 3349149"/>
              <a:gd name="connsiteX0" fmla="*/ 1309085 w 6659008"/>
              <a:gd name="connsiteY0" fmla="*/ 3367362 h 3367362"/>
              <a:gd name="connsiteX1" fmla="*/ 6659008 w 6659008"/>
              <a:gd name="connsiteY1" fmla="*/ 37308 h 336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659008" h="3367362">
                <a:moveTo>
                  <a:pt x="1309085" y="3367362"/>
                </a:moveTo>
                <a:cubicBezTo>
                  <a:pt x="-2153112" y="-224381"/>
                  <a:pt x="1814920" y="-61475"/>
                  <a:pt x="6659008" y="37308"/>
                </a:cubicBezTo>
              </a:path>
            </a:pathLst>
          </a:custGeom>
          <a:noFill/>
          <a:ln w="19050">
            <a:gradFill>
              <a:gsLst>
                <a:gs pos="66000">
                  <a:schemeClr val="accent1"/>
                </a:gs>
                <a:gs pos="79000">
                  <a:schemeClr val="accent1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олилиния 13"/>
          <p:cNvSpPr/>
          <p:nvPr userDrawn="1"/>
        </p:nvSpPr>
        <p:spPr>
          <a:xfrm>
            <a:off x="8173633" y="3475398"/>
            <a:ext cx="6796246" cy="3368519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260295 w 5610218"/>
              <a:gd name="connsiteY0" fmla="*/ 3330054 h 3330054"/>
              <a:gd name="connsiteX1" fmla="*/ 5610218 w 5610218"/>
              <a:gd name="connsiteY1" fmla="*/ 0 h 3330054"/>
              <a:gd name="connsiteX0" fmla="*/ 271955 w 5621878"/>
              <a:gd name="connsiteY0" fmla="*/ 3338796 h 3338796"/>
              <a:gd name="connsiteX1" fmla="*/ 5621878 w 5621878"/>
              <a:gd name="connsiteY1" fmla="*/ 8742 h 3338796"/>
              <a:gd name="connsiteX0" fmla="*/ 377323 w 5727246"/>
              <a:gd name="connsiteY0" fmla="*/ 3340808 h 3340808"/>
              <a:gd name="connsiteX1" fmla="*/ 5727246 w 5727246"/>
              <a:gd name="connsiteY1" fmla="*/ 10754 h 3340808"/>
              <a:gd name="connsiteX0" fmla="*/ 753184 w 6103107"/>
              <a:gd name="connsiteY0" fmla="*/ 3344266 h 3344266"/>
              <a:gd name="connsiteX1" fmla="*/ 6103107 w 6103107"/>
              <a:gd name="connsiteY1" fmla="*/ 14212 h 3344266"/>
              <a:gd name="connsiteX0" fmla="*/ 1024371 w 6374294"/>
              <a:gd name="connsiteY0" fmla="*/ 3349149 h 3349149"/>
              <a:gd name="connsiteX1" fmla="*/ 6374294 w 6374294"/>
              <a:gd name="connsiteY1" fmla="*/ 19095 h 3349149"/>
              <a:gd name="connsiteX0" fmla="*/ 1309085 w 6659008"/>
              <a:gd name="connsiteY0" fmla="*/ 3367362 h 3367362"/>
              <a:gd name="connsiteX1" fmla="*/ 6659008 w 6659008"/>
              <a:gd name="connsiteY1" fmla="*/ 37308 h 3367362"/>
              <a:gd name="connsiteX0" fmla="*/ 1446323 w 6796246"/>
              <a:gd name="connsiteY0" fmla="*/ 3368519 h 3368519"/>
              <a:gd name="connsiteX1" fmla="*/ 6796246 w 6796246"/>
              <a:gd name="connsiteY1" fmla="*/ 38465 h 3368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796246" h="3368519">
                <a:moveTo>
                  <a:pt x="1446323" y="3368519"/>
                </a:moveTo>
                <a:cubicBezTo>
                  <a:pt x="-2335189" y="-237738"/>
                  <a:pt x="1952158" y="-60318"/>
                  <a:pt x="6796246" y="38465"/>
                </a:cubicBezTo>
              </a:path>
            </a:pathLst>
          </a:custGeom>
          <a:noFill/>
          <a:ln w="25400" cap="rnd">
            <a:gradFill>
              <a:gsLst>
                <a:gs pos="65000">
                  <a:schemeClr val="accent4"/>
                </a:gs>
                <a:gs pos="77000">
                  <a:schemeClr val="accent1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олилиния 14"/>
          <p:cNvSpPr/>
          <p:nvPr userDrawn="1"/>
        </p:nvSpPr>
        <p:spPr>
          <a:xfrm>
            <a:off x="8180645" y="3473595"/>
            <a:ext cx="7040771" cy="3370322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260295 w 5610218"/>
              <a:gd name="connsiteY0" fmla="*/ 3330054 h 3330054"/>
              <a:gd name="connsiteX1" fmla="*/ 5610218 w 5610218"/>
              <a:gd name="connsiteY1" fmla="*/ 0 h 3330054"/>
              <a:gd name="connsiteX0" fmla="*/ 271955 w 5621878"/>
              <a:gd name="connsiteY0" fmla="*/ 3338796 h 3338796"/>
              <a:gd name="connsiteX1" fmla="*/ 5621878 w 5621878"/>
              <a:gd name="connsiteY1" fmla="*/ 8742 h 3338796"/>
              <a:gd name="connsiteX0" fmla="*/ 377323 w 5727246"/>
              <a:gd name="connsiteY0" fmla="*/ 3340808 h 3340808"/>
              <a:gd name="connsiteX1" fmla="*/ 5727246 w 5727246"/>
              <a:gd name="connsiteY1" fmla="*/ 10754 h 3340808"/>
              <a:gd name="connsiteX0" fmla="*/ 753184 w 6103107"/>
              <a:gd name="connsiteY0" fmla="*/ 3344266 h 3344266"/>
              <a:gd name="connsiteX1" fmla="*/ 6103107 w 6103107"/>
              <a:gd name="connsiteY1" fmla="*/ 14212 h 3344266"/>
              <a:gd name="connsiteX0" fmla="*/ 1024371 w 6374294"/>
              <a:gd name="connsiteY0" fmla="*/ 3349149 h 3349149"/>
              <a:gd name="connsiteX1" fmla="*/ 6374294 w 6374294"/>
              <a:gd name="connsiteY1" fmla="*/ 19095 h 3349149"/>
              <a:gd name="connsiteX0" fmla="*/ 1309085 w 6659008"/>
              <a:gd name="connsiteY0" fmla="*/ 3367362 h 3367362"/>
              <a:gd name="connsiteX1" fmla="*/ 6659008 w 6659008"/>
              <a:gd name="connsiteY1" fmla="*/ 37308 h 3367362"/>
              <a:gd name="connsiteX0" fmla="*/ 1690848 w 7040771"/>
              <a:gd name="connsiteY0" fmla="*/ 3370322 h 3370322"/>
              <a:gd name="connsiteX1" fmla="*/ 7040771 w 7040771"/>
              <a:gd name="connsiteY1" fmla="*/ 40268 h 337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040771" h="3370322">
                <a:moveTo>
                  <a:pt x="1690848" y="3370322"/>
                </a:moveTo>
                <a:cubicBezTo>
                  <a:pt x="-2656720" y="-257706"/>
                  <a:pt x="2196683" y="-58515"/>
                  <a:pt x="7040771" y="40268"/>
                </a:cubicBezTo>
              </a:path>
            </a:pathLst>
          </a:custGeom>
          <a:noFill/>
          <a:ln w="19050">
            <a:gradFill>
              <a:gsLst>
                <a:gs pos="33000">
                  <a:schemeClr val="accent1"/>
                </a:gs>
                <a:gs pos="70000">
                  <a:schemeClr val="accent1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олилиния 15"/>
          <p:cNvSpPr/>
          <p:nvPr userDrawn="1"/>
        </p:nvSpPr>
        <p:spPr>
          <a:xfrm>
            <a:off x="8213985" y="3492617"/>
            <a:ext cx="7254958" cy="3372206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260295 w 5610218"/>
              <a:gd name="connsiteY0" fmla="*/ 3330054 h 3330054"/>
              <a:gd name="connsiteX1" fmla="*/ 5610218 w 5610218"/>
              <a:gd name="connsiteY1" fmla="*/ 0 h 3330054"/>
              <a:gd name="connsiteX0" fmla="*/ 271955 w 5621878"/>
              <a:gd name="connsiteY0" fmla="*/ 3338796 h 3338796"/>
              <a:gd name="connsiteX1" fmla="*/ 5621878 w 5621878"/>
              <a:gd name="connsiteY1" fmla="*/ 8742 h 3338796"/>
              <a:gd name="connsiteX0" fmla="*/ 377323 w 5727246"/>
              <a:gd name="connsiteY0" fmla="*/ 3340808 h 3340808"/>
              <a:gd name="connsiteX1" fmla="*/ 5727246 w 5727246"/>
              <a:gd name="connsiteY1" fmla="*/ 10754 h 3340808"/>
              <a:gd name="connsiteX0" fmla="*/ 753184 w 6103107"/>
              <a:gd name="connsiteY0" fmla="*/ 3344266 h 3344266"/>
              <a:gd name="connsiteX1" fmla="*/ 6103107 w 6103107"/>
              <a:gd name="connsiteY1" fmla="*/ 14212 h 3344266"/>
              <a:gd name="connsiteX0" fmla="*/ 1024371 w 6374294"/>
              <a:gd name="connsiteY0" fmla="*/ 3349149 h 3349149"/>
              <a:gd name="connsiteX1" fmla="*/ 6374294 w 6374294"/>
              <a:gd name="connsiteY1" fmla="*/ 19095 h 3349149"/>
              <a:gd name="connsiteX0" fmla="*/ 1309085 w 6659008"/>
              <a:gd name="connsiteY0" fmla="*/ 3367362 h 3367362"/>
              <a:gd name="connsiteX1" fmla="*/ 6659008 w 6659008"/>
              <a:gd name="connsiteY1" fmla="*/ 37308 h 3367362"/>
              <a:gd name="connsiteX0" fmla="*/ 1690848 w 7040771"/>
              <a:gd name="connsiteY0" fmla="*/ 3370322 h 3370322"/>
              <a:gd name="connsiteX1" fmla="*/ 7040771 w 7040771"/>
              <a:gd name="connsiteY1" fmla="*/ 40268 h 3370322"/>
              <a:gd name="connsiteX0" fmla="*/ 1905035 w 7254958"/>
              <a:gd name="connsiteY0" fmla="*/ 3372206 h 3372206"/>
              <a:gd name="connsiteX1" fmla="*/ 7254958 w 7254958"/>
              <a:gd name="connsiteY1" fmla="*/ 42152 h 3372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54958" h="3372206">
                <a:moveTo>
                  <a:pt x="1905035" y="3372206"/>
                </a:moveTo>
                <a:cubicBezTo>
                  <a:pt x="-2936019" y="-277593"/>
                  <a:pt x="2410870" y="-56631"/>
                  <a:pt x="7254958" y="42152"/>
                </a:cubicBezTo>
              </a:path>
            </a:pathLst>
          </a:custGeom>
          <a:noFill/>
          <a:ln w="28575">
            <a:gradFill>
              <a:gsLst>
                <a:gs pos="14000">
                  <a:schemeClr val="accent2"/>
                </a:gs>
                <a:gs pos="55000">
                  <a:schemeClr val="accent1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олилиния 16"/>
          <p:cNvSpPr/>
          <p:nvPr userDrawn="1"/>
        </p:nvSpPr>
        <p:spPr>
          <a:xfrm>
            <a:off x="8490775" y="3517505"/>
            <a:ext cx="3672464" cy="2238566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260295 w 5610218"/>
              <a:gd name="connsiteY0" fmla="*/ 3330054 h 3330054"/>
              <a:gd name="connsiteX1" fmla="*/ 5610218 w 5610218"/>
              <a:gd name="connsiteY1" fmla="*/ 0 h 3330054"/>
              <a:gd name="connsiteX0" fmla="*/ 271955 w 5621878"/>
              <a:gd name="connsiteY0" fmla="*/ 3338796 h 3338796"/>
              <a:gd name="connsiteX1" fmla="*/ 5621878 w 5621878"/>
              <a:gd name="connsiteY1" fmla="*/ 8742 h 3338796"/>
              <a:gd name="connsiteX0" fmla="*/ 377323 w 5727246"/>
              <a:gd name="connsiteY0" fmla="*/ 3340808 h 3340808"/>
              <a:gd name="connsiteX1" fmla="*/ 5727246 w 5727246"/>
              <a:gd name="connsiteY1" fmla="*/ 10754 h 3340808"/>
              <a:gd name="connsiteX0" fmla="*/ 753184 w 6103107"/>
              <a:gd name="connsiteY0" fmla="*/ 3344266 h 3344266"/>
              <a:gd name="connsiteX1" fmla="*/ 6103107 w 6103107"/>
              <a:gd name="connsiteY1" fmla="*/ 14212 h 3344266"/>
              <a:gd name="connsiteX0" fmla="*/ 1024371 w 6374294"/>
              <a:gd name="connsiteY0" fmla="*/ 3349149 h 3349149"/>
              <a:gd name="connsiteX1" fmla="*/ 6374294 w 6374294"/>
              <a:gd name="connsiteY1" fmla="*/ 19095 h 3349149"/>
              <a:gd name="connsiteX0" fmla="*/ 1309085 w 6659008"/>
              <a:gd name="connsiteY0" fmla="*/ 3367362 h 3367362"/>
              <a:gd name="connsiteX1" fmla="*/ 6659008 w 6659008"/>
              <a:gd name="connsiteY1" fmla="*/ 37308 h 3367362"/>
              <a:gd name="connsiteX0" fmla="*/ 1690848 w 7040771"/>
              <a:gd name="connsiteY0" fmla="*/ 3370322 h 3370322"/>
              <a:gd name="connsiteX1" fmla="*/ 7040771 w 7040771"/>
              <a:gd name="connsiteY1" fmla="*/ 40268 h 3370322"/>
              <a:gd name="connsiteX0" fmla="*/ 1905035 w 7254958"/>
              <a:gd name="connsiteY0" fmla="*/ 3372206 h 3372206"/>
              <a:gd name="connsiteX1" fmla="*/ 7254958 w 7254958"/>
              <a:gd name="connsiteY1" fmla="*/ 42152 h 3372206"/>
              <a:gd name="connsiteX0" fmla="*/ 3619954 w 8969877"/>
              <a:gd name="connsiteY0" fmla="*/ 3448399 h 3448399"/>
              <a:gd name="connsiteX1" fmla="*/ 8969877 w 8969877"/>
              <a:gd name="connsiteY1" fmla="*/ 118345 h 3448399"/>
              <a:gd name="connsiteX0" fmla="*/ 3153504 w 8503427"/>
              <a:gd name="connsiteY0" fmla="*/ 3615019 h 3615019"/>
              <a:gd name="connsiteX1" fmla="*/ 8503427 w 8503427"/>
              <a:gd name="connsiteY1" fmla="*/ 284965 h 3615019"/>
              <a:gd name="connsiteX0" fmla="*/ 3915960 w 6264989"/>
              <a:gd name="connsiteY0" fmla="*/ 3731036 h 3731036"/>
              <a:gd name="connsiteX1" fmla="*/ 6264989 w 6264989"/>
              <a:gd name="connsiteY1" fmla="*/ 231029 h 3731036"/>
              <a:gd name="connsiteX0" fmla="*/ 3139371 w 5488400"/>
              <a:gd name="connsiteY0" fmla="*/ 3615612 h 3615612"/>
              <a:gd name="connsiteX1" fmla="*/ 5488400 w 5488400"/>
              <a:gd name="connsiteY1" fmla="*/ 115605 h 3615612"/>
              <a:gd name="connsiteX0" fmla="*/ 3154032 w 5503061"/>
              <a:gd name="connsiteY0" fmla="*/ 3539160 h 3539160"/>
              <a:gd name="connsiteX1" fmla="*/ 5503061 w 5503061"/>
              <a:gd name="connsiteY1" fmla="*/ 39153 h 3539160"/>
              <a:gd name="connsiteX0" fmla="*/ 3581002 w 4178420"/>
              <a:gd name="connsiteY0" fmla="*/ 3553413 h 3553413"/>
              <a:gd name="connsiteX1" fmla="*/ 4178420 w 4178420"/>
              <a:gd name="connsiteY1" fmla="*/ 34730 h 3553413"/>
              <a:gd name="connsiteX0" fmla="*/ 3560255 w 4157673"/>
              <a:gd name="connsiteY0" fmla="*/ 3619672 h 3619672"/>
              <a:gd name="connsiteX1" fmla="*/ 4157673 w 4157673"/>
              <a:gd name="connsiteY1" fmla="*/ 100989 h 3619672"/>
              <a:gd name="connsiteX0" fmla="*/ 3085593 w 3683011"/>
              <a:gd name="connsiteY0" fmla="*/ 3525614 h 3525614"/>
              <a:gd name="connsiteX1" fmla="*/ 3683011 w 3683011"/>
              <a:gd name="connsiteY1" fmla="*/ 6931 h 3525614"/>
              <a:gd name="connsiteX0" fmla="*/ 3075046 w 3672464"/>
              <a:gd name="connsiteY0" fmla="*/ 3520594 h 3520594"/>
              <a:gd name="connsiteX1" fmla="*/ 3672464 w 3672464"/>
              <a:gd name="connsiteY1" fmla="*/ 1911 h 3520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672464" h="3520594">
                <a:moveTo>
                  <a:pt x="3075046" y="3520594"/>
                </a:moveTo>
                <a:cubicBezTo>
                  <a:pt x="-3558786" y="-305148"/>
                  <a:pt x="2417099" y="15186"/>
                  <a:pt x="3672464" y="1911"/>
                </a:cubicBezTo>
              </a:path>
            </a:pathLst>
          </a:custGeom>
          <a:noFill/>
          <a:ln w="63500" cap="rnd">
            <a:gradFill>
              <a:gsLst>
                <a:gs pos="32000">
                  <a:schemeClr val="accent1"/>
                </a:gs>
                <a:gs pos="77000">
                  <a:schemeClr val="accent1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олилиния 17"/>
          <p:cNvSpPr/>
          <p:nvPr userDrawn="1"/>
        </p:nvSpPr>
        <p:spPr>
          <a:xfrm>
            <a:off x="8340203" y="3556540"/>
            <a:ext cx="3843234" cy="3351825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260295 w 5610218"/>
              <a:gd name="connsiteY0" fmla="*/ 3330054 h 3330054"/>
              <a:gd name="connsiteX1" fmla="*/ 5610218 w 5610218"/>
              <a:gd name="connsiteY1" fmla="*/ 0 h 3330054"/>
              <a:gd name="connsiteX0" fmla="*/ 271955 w 5621878"/>
              <a:gd name="connsiteY0" fmla="*/ 3338796 h 3338796"/>
              <a:gd name="connsiteX1" fmla="*/ 5621878 w 5621878"/>
              <a:gd name="connsiteY1" fmla="*/ 8742 h 3338796"/>
              <a:gd name="connsiteX0" fmla="*/ 377323 w 5727246"/>
              <a:gd name="connsiteY0" fmla="*/ 3340808 h 3340808"/>
              <a:gd name="connsiteX1" fmla="*/ 5727246 w 5727246"/>
              <a:gd name="connsiteY1" fmla="*/ 10754 h 3340808"/>
              <a:gd name="connsiteX0" fmla="*/ 753184 w 6103107"/>
              <a:gd name="connsiteY0" fmla="*/ 3344266 h 3344266"/>
              <a:gd name="connsiteX1" fmla="*/ 6103107 w 6103107"/>
              <a:gd name="connsiteY1" fmla="*/ 14212 h 3344266"/>
              <a:gd name="connsiteX0" fmla="*/ 1024371 w 6374294"/>
              <a:gd name="connsiteY0" fmla="*/ 3349149 h 3349149"/>
              <a:gd name="connsiteX1" fmla="*/ 6374294 w 6374294"/>
              <a:gd name="connsiteY1" fmla="*/ 19095 h 3349149"/>
              <a:gd name="connsiteX0" fmla="*/ 1309085 w 6659008"/>
              <a:gd name="connsiteY0" fmla="*/ 3367362 h 3367362"/>
              <a:gd name="connsiteX1" fmla="*/ 6659008 w 6659008"/>
              <a:gd name="connsiteY1" fmla="*/ 37308 h 3367362"/>
              <a:gd name="connsiteX0" fmla="*/ 1690848 w 7040771"/>
              <a:gd name="connsiteY0" fmla="*/ 3370322 h 3370322"/>
              <a:gd name="connsiteX1" fmla="*/ 7040771 w 7040771"/>
              <a:gd name="connsiteY1" fmla="*/ 40268 h 3370322"/>
              <a:gd name="connsiteX0" fmla="*/ 1905035 w 7254958"/>
              <a:gd name="connsiteY0" fmla="*/ 3372206 h 3372206"/>
              <a:gd name="connsiteX1" fmla="*/ 7254958 w 7254958"/>
              <a:gd name="connsiteY1" fmla="*/ 42152 h 3372206"/>
              <a:gd name="connsiteX0" fmla="*/ 1942744 w 7096725"/>
              <a:gd name="connsiteY0" fmla="*/ 3275117 h 3275117"/>
              <a:gd name="connsiteX1" fmla="*/ 7096725 w 7096725"/>
              <a:gd name="connsiteY1" fmla="*/ 53920 h 3275117"/>
              <a:gd name="connsiteX0" fmla="*/ 2203006 w 7356987"/>
              <a:gd name="connsiteY0" fmla="*/ 3359741 h 3359741"/>
              <a:gd name="connsiteX1" fmla="*/ 7356987 w 7356987"/>
              <a:gd name="connsiteY1" fmla="*/ 138544 h 3359741"/>
              <a:gd name="connsiteX0" fmla="*/ 3140179 w 4856254"/>
              <a:gd name="connsiteY0" fmla="*/ 3461678 h 3461678"/>
              <a:gd name="connsiteX1" fmla="*/ 4856254 w 4856254"/>
              <a:gd name="connsiteY1" fmla="*/ 109853 h 3461678"/>
              <a:gd name="connsiteX0" fmla="*/ 2152741 w 3868816"/>
              <a:gd name="connsiteY0" fmla="*/ 3409737 h 3409737"/>
              <a:gd name="connsiteX1" fmla="*/ 3868816 w 3868816"/>
              <a:gd name="connsiteY1" fmla="*/ 57912 h 3409737"/>
              <a:gd name="connsiteX0" fmla="*/ 2216132 w 3932207"/>
              <a:gd name="connsiteY0" fmla="*/ 3370987 h 3370987"/>
              <a:gd name="connsiteX1" fmla="*/ 3932207 w 3932207"/>
              <a:gd name="connsiteY1" fmla="*/ 19162 h 3370987"/>
              <a:gd name="connsiteX0" fmla="*/ 2127159 w 3843234"/>
              <a:gd name="connsiteY0" fmla="*/ 3351825 h 3351825"/>
              <a:gd name="connsiteX1" fmla="*/ 3843234 w 3843234"/>
              <a:gd name="connsiteY1" fmla="*/ 0 h 3351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43234" h="3351825">
                <a:moveTo>
                  <a:pt x="2127159" y="3351825"/>
                </a:moveTo>
                <a:cubicBezTo>
                  <a:pt x="-3107100" y="-637740"/>
                  <a:pt x="2840814" y="109036"/>
                  <a:pt x="3843234" y="0"/>
                </a:cubicBezTo>
              </a:path>
            </a:pathLst>
          </a:custGeom>
          <a:noFill/>
          <a:ln w="28575">
            <a:gradFill>
              <a:gsLst>
                <a:gs pos="43000">
                  <a:schemeClr val="accent2"/>
                </a:gs>
                <a:gs pos="70000">
                  <a:schemeClr val="accent2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олилиния 18"/>
          <p:cNvSpPr/>
          <p:nvPr userDrawn="1"/>
        </p:nvSpPr>
        <p:spPr>
          <a:xfrm>
            <a:off x="8478602" y="3371938"/>
            <a:ext cx="6086514" cy="2225476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260295 w 5610218"/>
              <a:gd name="connsiteY0" fmla="*/ 3330054 h 3330054"/>
              <a:gd name="connsiteX1" fmla="*/ 5610218 w 5610218"/>
              <a:gd name="connsiteY1" fmla="*/ 0 h 3330054"/>
              <a:gd name="connsiteX0" fmla="*/ 271955 w 5621878"/>
              <a:gd name="connsiteY0" fmla="*/ 3338796 h 3338796"/>
              <a:gd name="connsiteX1" fmla="*/ 5621878 w 5621878"/>
              <a:gd name="connsiteY1" fmla="*/ 8742 h 3338796"/>
              <a:gd name="connsiteX0" fmla="*/ 377323 w 5727246"/>
              <a:gd name="connsiteY0" fmla="*/ 3340808 h 3340808"/>
              <a:gd name="connsiteX1" fmla="*/ 5727246 w 5727246"/>
              <a:gd name="connsiteY1" fmla="*/ 10754 h 3340808"/>
              <a:gd name="connsiteX0" fmla="*/ 753184 w 6103107"/>
              <a:gd name="connsiteY0" fmla="*/ 3344266 h 3344266"/>
              <a:gd name="connsiteX1" fmla="*/ 6103107 w 6103107"/>
              <a:gd name="connsiteY1" fmla="*/ 14212 h 3344266"/>
              <a:gd name="connsiteX0" fmla="*/ 1024371 w 6374294"/>
              <a:gd name="connsiteY0" fmla="*/ 3349149 h 3349149"/>
              <a:gd name="connsiteX1" fmla="*/ 6374294 w 6374294"/>
              <a:gd name="connsiteY1" fmla="*/ 19095 h 3349149"/>
              <a:gd name="connsiteX0" fmla="*/ 1309085 w 6659008"/>
              <a:gd name="connsiteY0" fmla="*/ 3367362 h 3367362"/>
              <a:gd name="connsiteX1" fmla="*/ 6659008 w 6659008"/>
              <a:gd name="connsiteY1" fmla="*/ 37308 h 3367362"/>
              <a:gd name="connsiteX0" fmla="*/ 1690848 w 7040771"/>
              <a:gd name="connsiteY0" fmla="*/ 3370322 h 3370322"/>
              <a:gd name="connsiteX1" fmla="*/ 7040771 w 7040771"/>
              <a:gd name="connsiteY1" fmla="*/ 40268 h 3370322"/>
              <a:gd name="connsiteX0" fmla="*/ 1905035 w 7254958"/>
              <a:gd name="connsiteY0" fmla="*/ 3372206 h 3372206"/>
              <a:gd name="connsiteX1" fmla="*/ 7254958 w 7254958"/>
              <a:gd name="connsiteY1" fmla="*/ 42152 h 3372206"/>
              <a:gd name="connsiteX0" fmla="*/ 3619954 w 8969877"/>
              <a:gd name="connsiteY0" fmla="*/ 3448399 h 3448399"/>
              <a:gd name="connsiteX1" fmla="*/ 8969877 w 8969877"/>
              <a:gd name="connsiteY1" fmla="*/ 118345 h 3448399"/>
              <a:gd name="connsiteX0" fmla="*/ 3153504 w 8503427"/>
              <a:gd name="connsiteY0" fmla="*/ 3615019 h 3615019"/>
              <a:gd name="connsiteX1" fmla="*/ 8503427 w 8503427"/>
              <a:gd name="connsiteY1" fmla="*/ 284965 h 3615019"/>
              <a:gd name="connsiteX0" fmla="*/ 3915960 w 6264989"/>
              <a:gd name="connsiteY0" fmla="*/ 3731036 h 3731036"/>
              <a:gd name="connsiteX1" fmla="*/ 6264989 w 6264989"/>
              <a:gd name="connsiteY1" fmla="*/ 231029 h 3731036"/>
              <a:gd name="connsiteX0" fmla="*/ 3139371 w 5488400"/>
              <a:gd name="connsiteY0" fmla="*/ 3615612 h 3615612"/>
              <a:gd name="connsiteX1" fmla="*/ 5488400 w 5488400"/>
              <a:gd name="connsiteY1" fmla="*/ 115605 h 3615612"/>
              <a:gd name="connsiteX0" fmla="*/ 3154032 w 5503061"/>
              <a:gd name="connsiteY0" fmla="*/ 3539160 h 3539160"/>
              <a:gd name="connsiteX1" fmla="*/ 5503061 w 5503061"/>
              <a:gd name="connsiteY1" fmla="*/ 39153 h 3539160"/>
              <a:gd name="connsiteX0" fmla="*/ 3737485 w 6086514"/>
              <a:gd name="connsiteY0" fmla="*/ 3500008 h 3500008"/>
              <a:gd name="connsiteX1" fmla="*/ 6086514 w 6086514"/>
              <a:gd name="connsiteY1" fmla="*/ 1 h 3500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086514" h="3500008">
                <a:moveTo>
                  <a:pt x="3737485" y="3500008"/>
                </a:moveTo>
                <a:cubicBezTo>
                  <a:pt x="-5310601" y="-794508"/>
                  <a:pt x="4742084" y="162687"/>
                  <a:pt x="6086514" y="1"/>
                </a:cubicBezTo>
              </a:path>
            </a:pathLst>
          </a:custGeom>
          <a:noFill/>
          <a:ln w="47625">
            <a:gradFill>
              <a:gsLst>
                <a:gs pos="16000">
                  <a:schemeClr val="accent2"/>
                </a:gs>
                <a:gs pos="65000">
                  <a:schemeClr val="accent2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олилиния 19"/>
          <p:cNvSpPr/>
          <p:nvPr userDrawn="1"/>
        </p:nvSpPr>
        <p:spPr>
          <a:xfrm>
            <a:off x="8568018" y="3243618"/>
            <a:ext cx="3650252" cy="2062641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260295 w 5610218"/>
              <a:gd name="connsiteY0" fmla="*/ 3330054 h 3330054"/>
              <a:gd name="connsiteX1" fmla="*/ 5610218 w 5610218"/>
              <a:gd name="connsiteY1" fmla="*/ 0 h 3330054"/>
              <a:gd name="connsiteX0" fmla="*/ 271955 w 5621878"/>
              <a:gd name="connsiteY0" fmla="*/ 3338796 h 3338796"/>
              <a:gd name="connsiteX1" fmla="*/ 5621878 w 5621878"/>
              <a:gd name="connsiteY1" fmla="*/ 8742 h 3338796"/>
              <a:gd name="connsiteX0" fmla="*/ 377323 w 5727246"/>
              <a:gd name="connsiteY0" fmla="*/ 3340808 h 3340808"/>
              <a:gd name="connsiteX1" fmla="*/ 5727246 w 5727246"/>
              <a:gd name="connsiteY1" fmla="*/ 10754 h 3340808"/>
              <a:gd name="connsiteX0" fmla="*/ 753184 w 6103107"/>
              <a:gd name="connsiteY0" fmla="*/ 3344266 h 3344266"/>
              <a:gd name="connsiteX1" fmla="*/ 6103107 w 6103107"/>
              <a:gd name="connsiteY1" fmla="*/ 14212 h 3344266"/>
              <a:gd name="connsiteX0" fmla="*/ 1024371 w 6374294"/>
              <a:gd name="connsiteY0" fmla="*/ 3349149 h 3349149"/>
              <a:gd name="connsiteX1" fmla="*/ 6374294 w 6374294"/>
              <a:gd name="connsiteY1" fmla="*/ 19095 h 3349149"/>
              <a:gd name="connsiteX0" fmla="*/ 1309085 w 6659008"/>
              <a:gd name="connsiteY0" fmla="*/ 3367362 h 3367362"/>
              <a:gd name="connsiteX1" fmla="*/ 6659008 w 6659008"/>
              <a:gd name="connsiteY1" fmla="*/ 37308 h 3367362"/>
              <a:gd name="connsiteX0" fmla="*/ 1690848 w 7040771"/>
              <a:gd name="connsiteY0" fmla="*/ 3370322 h 3370322"/>
              <a:gd name="connsiteX1" fmla="*/ 7040771 w 7040771"/>
              <a:gd name="connsiteY1" fmla="*/ 40268 h 3370322"/>
              <a:gd name="connsiteX0" fmla="*/ 1905035 w 7254958"/>
              <a:gd name="connsiteY0" fmla="*/ 3372206 h 3372206"/>
              <a:gd name="connsiteX1" fmla="*/ 7254958 w 7254958"/>
              <a:gd name="connsiteY1" fmla="*/ 42152 h 3372206"/>
              <a:gd name="connsiteX0" fmla="*/ 3619954 w 8969877"/>
              <a:gd name="connsiteY0" fmla="*/ 3448399 h 3448399"/>
              <a:gd name="connsiteX1" fmla="*/ 8969877 w 8969877"/>
              <a:gd name="connsiteY1" fmla="*/ 118345 h 3448399"/>
              <a:gd name="connsiteX0" fmla="*/ 3153504 w 8503427"/>
              <a:gd name="connsiteY0" fmla="*/ 3615019 h 3615019"/>
              <a:gd name="connsiteX1" fmla="*/ 8503427 w 8503427"/>
              <a:gd name="connsiteY1" fmla="*/ 284965 h 3615019"/>
              <a:gd name="connsiteX0" fmla="*/ 3915960 w 6264989"/>
              <a:gd name="connsiteY0" fmla="*/ 3731036 h 3731036"/>
              <a:gd name="connsiteX1" fmla="*/ 6264989 w 6264989"/>
              <a:gd name="connsiteY1" fmla="*/ 231029 h 3731036"/>
              <a:gd name="connsiteX0" fmla="*/ 3139371 w 5488400"/>
              <a:gd name="connsiteY0" fmla="*/ 3615612 h 3615612"/>
              <a:gd name="connsiteX1" fmla="*/ 5488400 w 5488400"/>
              <a:gd name="connsiteY1" fmla="*/ 115605 h 3615612"/>
              <a:gd name="connsiteX0" fmla="*/ 3154032 w 5503061"/>
              <a:gd name="connsiteY0" fmla="*/ 3539160 h 3539160"/>
              <a:gd name="connsiteX1" fmla="*/ 5503061 w 5503061"/>
              <a:gd name="connsiteY1" fmla="*/ 39153 h 3539160"/>
              <a:gd name="connsiteX0" fmla="*/ 3737485 w 6086514"/>
              <a:gd name="connsiteY0" fmla="*/ 3500008 h 3500008"/>
              <a:gd name="connsiteX1" fmla="*/ 6086514 w 6086514"/>
              <a:gd name="connsiteY1" fmla="*/ 1 h 3500008"/>
              <a:gd name="connsiteX0" fmla="*/ 3752176 w 6101205"/>
              <a:gd name="connsiteY0" fmla="*/ 3500006 h 3500006"/>
              <a:gd name="connsiteX1" fmla="*/ 6101205 w 6101205"/>
              <a:gd name="connsiteY1" fmla="*/ -1 h 3500006"/>
              <a:gd name="connsiteX0" fmla="*/ 4352885 w 4352885"/>
              <a:gd name="connsiteY0" fmla="*/ 3395420 h 3395420"/>
              <a:gd name="connsiteX1" fmla="*/ 4349412 w 4352885"/>
              <a:gd name="connsiteY1" fmla="*/ 0 h 3395420"/>
              <a:gd name="connsiteX0" fmla="*/ 4265556 w 4265556"/>
              <a:gd name="connsiteY0" fmla="*/ 3441050 h 3441050"/>
              <a:gd name="connsiteX1" fmla="*/ 4262083 w 4265556"/>
              <a:gd name="connsiteY1" fmla="*/ 45630 h 3441050"/>
              <a:gd name="connsiteX0" fmla="*/ 3650252 w 3650252"/>
              <a:gd name="connsiteY0" fmla="*/ 3408407 h 3408407"/>
              <a:gd name="connsiteX1" fmla="*/ 3646779 w 3650252"/>
              <a:gd name="connsiteY1" fmla="*/ 12987 h 3408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650252" h="3408407">
                <a:moveTo>
                  <a:pt x="3650252" y="3408407"/>
                </a:moveTo>
                <a:cubicBezTo>
                  <a:pt x="-4042859" y="316648"/>
                  <a:pt x="2659796" y="-85794"/>
                  <a:pt x="3646779" y="12987"/>
                </a:cubicBezTo>
              </a:path>
            </a:pathLst>
          </a:custGeom>
          <a:noFill/>
          <a:ln w="47625">
            <a:gradFill>
              <a:gsLst>
                <a:gs pos="56000">
                  <a:schemeClr val="accent4"/>
                </a:gs>
                <a:gs pos="84000">
                  <a:schemeClr val="accent4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олилиния 20"/>
          <p:cNvSpPr/>
          <p:nvPr userDrawn="1"/>
        </p:nvSpPr>
        <p:spPr>
          <a:xfrm>
            <a:off x="8587177" y="2814033"/>
            <a:ext cx="5976450" cy="1476159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260295 w 5610218"/>
              <a:gd name="connsiteY0" fmla="*/ 3330054 h 3330054"/>
              <a:gd name="connsiteX1" fmla="*/ 5610218 w 5610218"/>
              <a:gd name="connsiteY1" fmla="*/ 0 h 3330054"/>
              <a:gd name="connsiteX0" fmla="*/ 271955 w 5621878"/>
              <a:gd name="connsiteY0" fmla="*/ 3338796 h 3338796"/>
              <a:gd name="connsiteX1" fmla="*/ 5621878 w 5621878"/>
              <a:gd name="connsiteY1" fmla="*/ 8742 h 3338796"/>
              <a:gd name="connsiteX0" fmla="*/ 377323 w 5727246"/>
              <a:gd name="connsiteY0" fmla="*/ 3340808 h 3340808"/>
              <a:gd name="connsiteX1" fmla="*/ 5727246 w 5727246"/>
              <a:gd name="connsiteY1" fmla="*/ 10754 h 3340808"/>
              <a:gd name="connsiteX0" fmla="*/ 753184 w 6103107"/>
              <a:gd name="connsiteY0" fmla="*/ 3344266 h 3344266"/>
              <a:gd name="connsiteX1" fmla="*/ 6103107 w 6103107"/>
              <a:gd name="connsiteY1" fmla="*/ 14212 h 3344266"/>
              <a:gd name="connsiteX0" fmla="*/ 1024371 w 6374294"/>
              <a:gd name="connsiteY0" fmla="*/ 3349149 h 3349149"/>
              <a:gd name="connsiteX1" fmla="*/ 6374294 w 6374294"/>
              <a:gd name="connsiteY1" fmla="*/ 19095 h 3349149"/>
              <a:gd name="connsiteX0" fmla="*/ 1309085 w 6659008"/>
              <a:gd name="connsiteY0" fmla="*/ 3367362 h 3367362"/>
              <a:gd name="connsiteX1" fmla="*/ 6659008 w 6659008"/>
              <a:gd name="connsiteY1" fmla="*/ 37308 h 3367362"/>
              <a:gd name="connsiteX0" fmla="*/ 1690848 w 7040771"/>
              <a:gd name="connsiteY0" fmla="*/ 3370322 h 3370322"/>
              <a:gd name="connsiteX1" fmla="*/ 7040771 w 7040771"/>
              <a:gd name="connsiteY1" fmla="*/ 40268 h 3370322"/>
              <a:gd name="connsiteX0" fmla="*/ 1905035 w 7254958"/>
              <a:gd name="connsiteY0" fmla="*/ 3372206 h 3372206"/>
              <a:gd name="connsiteX1" fmla="*/ 7254958 w 7254958"/>
              <a:gd name="connsiteY1" fmla="*/ 42152 h 3372206"/>
              <a:gd name="connsiteX0" fmla="*/ 3619954 w 8969877"/>
              <a:gd name="connsiteY0" fmla="*/ 3448399 h 3448399"/>
              <a:gd name="connsiteX1" fmla="*/ 8969877 w 8969877"/>
              <a:gd name="connsiteY1" fmla="*/ 118345 h 3448399"/>
              <a:gd name="connsiteX0" fmla="*/ 3153504 w 8503427"/>
              <a:gd name="connsiteY0" fmla="*/ 3615019 h 3615019"/>
              <a:gd name="connsiteX1" fmla="*/ 8503427 w 8503427"/>
              <a:gd name="connsiteY1" fmla="*/ 284965 h 3615019"/>
              <a:gd name="connsiteX0" fmla="*/ 3915960 w 6264989"/>
              <a:gd name="connsiteY0" fmla="*/ 3731036 h 3731036"/>
              <a:gd name="connsiteX1" fmla="*/ 6264989 w 6264989"/>
              <a:gd name="connsiteY1" fmla="*/ 231029 h 3731036"/>
              <a:gd name="connsiteX0" fmla="*/ 3139371 w 5488400"/>
              <a:gd name="connsiteY0" fmla="*/ 3615612 h 3615612"/>
              <a:gd name="connsiteX1" fmla="*/ 5488400 w 5488400"/>
              <a:gd name="connsiteY1" fmla="*/ 115605 h 3615612"/>
              <a:gd name="connsiteX0" fmla="*/ 3154032 w 5503061"/>
              <a:gd name="connsiteY0" fmla="*/ 3539160 h 3539160"/>
              <a:gd name="connsiteX1" fmla="*/ 5503061 w 5503061"/>
              <a:gd name="connsiteY1" fmla="*/ 39153 h 3539160"/>
              <a:gd name="connsiteX0" fmla="*/ 3737485 w 6086514"/>
              <a:gd name="connsiteY0" fmla="*/ 3500008 h 3500008"/>
              <a:gd name="connsiteX1" fmla="*/ 6086514 w 6086514"/>
              <a:gd name="connsiteY1" fmla="*/ 1 h 3500008"/>
              <a:gd name="connsiteX0" fmla="*/ 3752176 w 6101205"/>
              <a:gd name="connsiteY0" fmla="*/ 3500006 h 3500006"/>
              <a:gd name="connsiteX1" fmla="*/ 6101205 w 6101205"/>
              <a:gd name="connsiteY1" fmla="*/ -1 h 3500006"/>
              <a:gd name="connsiteX0" fmla="*/ 3748498 w 6097527"/>
              <a:gd name="connsiteY0" fmla="*/ 3500006 h 3500006"/>
              <a:gd name="connsiteX1" fmla="*/ 6097527 w 6097527"/>
              <a:gd name="connsiteY1" fmla="*/ -1 h 3500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097527" h="3500006">
                <a:moveTo>
                  <a:pt x="3748498" y="3500006"/>
                </a:moveTo>
                <a:cubicBezTo>
                  <a:pt x="-5324511" y="175114"/>
                  <a:pt x="4753097" y="162685"/>
                  <a:pt x="6097527" y="-1"/>
                </a:cubicBezTo>
              </a:path>
            </a:pathLst>
          </a:custGeom>
          <a:noFill/>
          <a:ln w="47625">
            <a:gradFill>
              <a:gsLst>
                <a:gs pos="65000">
                  <a:schemeClr val="accent3"/>
                </a:gs>
                <a:gs pos="82000">
                  <a:schemeClr val="accent3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олилиния 21"/>
          <p:cNvSpPr/>
          <p:nvPr userDrawn="1"/>
        </p:nvSpPr>
        <p:spPr>
          <a:xfrm>
            <a:off x="8384251" y="3425576"/>
            <a:ext cx="4631217" cy="3482301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260295 w 5610218"/>
              <a:gd name="connsiteY0" fmla="*/ 3330054 h 3330054"/>
              <a:gd name="connsiteX1" fmla="*/ 5610218 w 5610218"/>
              <a:gd name="connsiteY1" fmla="*/ 0 h 3330054"/>
              <a:gd name="connsiteX0" fmla="*/ 271955 w 5621878"/>
              <a:gd name="connsiteY0" fmla="*/ 3338796 h 3338796"/>
              <a:gd name="connsiteX1" fmla="*/ 5621878 w 5621878"/>
              <a:gd name="connsiteY1" fmla="*/ 8742 h 3338796"/>
              <a:gd name="connsiteX0" fmla="*/ 377323 w 5727246"/>
              <a:gd name="connsiteY0" fmla="*/ 3340808 h 3340808"/>
              <a:gd name="connsiteX1" fmla="*/ 5727246 w 5727246"/>
              <a:gd name="connsiteY1" fmla="*/ 10754 h 3340808"/>
              <a:gd name="connsiteX0" fmla="*/ 753184 w 6103107"/>
              <a:gd name="connsiteY0" fmla="*/ 3344266 h 3344266"/>
              <a:gd name="connsiteX1" fmla="*/ 6103107 w 6103107"/>
              <a:gd name="connsiteY1" fmla="*/ 14212 h 3344266"/>
              <a:gd name="connsiteX0" fmla="*/ 1024371 w 6374294"/>
              <a:gd name="connsiteY0" fmla="*/ 3349149 h 3349149"/>
              <a:gd name="connsiteX1" fmla="*/ 6374294 w 6374294"/>
              <a:gd name="connsiteY1" fmla="*/ 19095 h 3349149"/>
              <a:gd name="connsiteX0" fmla="*/ 1309085 w 6659008"/>
              <a:gd name="connsiteY0" fmla="*/ 3367362 h 3367362"/>
              <a:gd name="connsiteX1" fmla="*/ 6659008 w 6659008"/>
              <a:gd name="connsiteY1" fmla="*/ 37308 h 3367362"/>
              <a:gd name="connsiteX0" fmla="*/ 1690848 w 7040771"/>
              <a:gd name="connsiteY0" fmla="*/ 3370322 h 3370322"/>
              <a:gd name="connsiteX1" fmla="*/ 7040771 w 7040771"/>
              <a:gd name="connsiteY1" fmla="*/ 40268 h 3370322"/>
              <a:gd name="connsiteX0" fmla="*/ 1905035 w 7254958"/>
              <a:gd name="connsiteY0" fmla="*/ 3372206 h 3372206"/>
              <a:gd name="connsiteX1" fmla="*/ 7254958 w 7254958"/>
              <a:gd name="connsiteY1" fmla="*/ 42152 h 3372206"/>
              <a:gd name="connsiteX0" fmla="*/ 3619954 w 8969877"/>
              <a:gd name="connsiteY0" fmla="*/ 3448399 h 3448399"/>
              <a:gd name="connsiteX1" fmla="*/ 8969877 w 8969877"/>
              <a:gd name="connsiteY1" fmla="*/ 118345 h 3448399"/>
              <a:gd name="connsiteX0" fmla="*/ 3153504 w 8503427"/>
              <a:gd name="connsiteY0" fmla="*/ 3615019 h 3615019"/>
              <a:gd name="connsiteX1" fmla="*/ 8503427 w 8503427"/>
              <a:gd name="connsiteY1" fmla="*/ 284965 h 3615019"/>
              <a:gd name="connsiteX0" fmla="*/ 3915960 w 6264989"/>
              <a:gd name="connsiteY0" fmla="*/ 3731036 h 3731036"/>
              <a:gd name="connsiteX1" fmla="*/ 6264989 w 6264989"/>
              <a:gd name="connsiteY1" fmla="*/ 231029 h 3731036"/>
              <a:gd name="connsiteX0" fmla="*/ 3139371 w 5488400"/>
              <a:gd name="connsiteY0" fmla="*/ 3615612 h 3615612"/>
              <a:gd name="connsiteX1" fmla="*/ 5488400 w 5488400"/>
              <a:gd name="connsiteY1" fmla="*/ 115605 h 3615612"/>
              <a:gd name="connsiteX0" fmla="*/ 3154032 w 5503061"/>
              <a:gd name="connsiteY0" fmla="*/ 3539160 h 3539160"/>
              <a:gd name="connsiteX1" fmla="*/ 5503061 w 5503061"/>
              <a:gd name="connsiteY1" fmla="*/ 39153 h 3539160"/>
              <a:gd name="connsiteX0" fmla="*/ 3203771 w 5325821"/>
              <a:gd name="connsiteY0" fmla="*/ 3672872 h 3672872"/>
              <a:gd name="connsiteX1" fmla="*/ 5325821 w 5325821"/>
              <a:gd name="connsiteY1" fmla="*/ 3241 h 3672872"/>
              <a:gd name="connsiteX0" fmla="*/ 3644721 w 5766771"/>
              <a:gd name="connsiteY0" fmla="*/ 3669631 h 3669631"/>
              <a:gd name="connsiteX1" fmla="*/ 5766771 w 5766771"/>
              <a:gd name="connsiteY1" fmla="*/ 0 h 3669631"/>
              <a:gd name="connsiteX0" fmla="*/ 3932609 w 4871128"/>
              <a:gd name="connsiteY0" fmla="*/ 3924067 h 3924067"/>
              <a:gd name="connsiteX1" fmla="*/ 4871128 w 4871128"/>
              <a:gd name="connsiteY1" fmla="*/ 0 h 3924067"/>
              <a:gd name="connsiteX0" fmla="*/ 3891178 w 4829697"/>
              <a:gd name="connsiteY0" fmla="*/ 3951517 h 3951517"/>
              <a:gd name="connsiteX1" fmla="*/ 4829697 w 4829697"/>
              <a:gd name="connsiteY1" fmla="*/ 27450 h 3951517"/>
              <a:gd name="connsiteX0" fmla="*/ 3577738 w 4516257"/>
              <a:gd name="connsiteY0" fmla="*/ 3947650 h 3947650"/>
              <a:gd name="connsiteX1" fmla="*/ 4516257 w 4516257"/>
              <a:gd name="connsiteY1" fmla="*/ 23583 h 39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516257" h="3947650">
                <a:moveTo>
                  <a:pt x="3577738" y="3947650"/>
                </a:moveTo>
                <a:cubicBezTo>
                  <a:pt x="-4440453" y="-398893"/>
                  <a:pt x="3358274" y="-11626"/>
                  <a:pt x="4516257" y="23583"/>
                </a:cubicBezTo>
              </a:path>
            </a:pathLst>
          </a:custGeom>
          <a:noFill/>
          <a:ln w="38100">
            <a:gradFill>
              <a:gsLst>
                <a:gs pos="54000">
                  <a:schemeClr val="accent1"/>
                </a:gs>
                <a:gs pos="88000">
                  <a:schemeClr val="accent1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олилиния 22"/>
          <p:cNvSpPr/>
          <p:nvPr userDrawn="1"/>
        </p:nvSpPr>
        <p:spPr>
          <a:xfrm>
            <a:off x="8587177" y="3061919"/>
            <a:ext cx="6140351" cy="2000532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260295 w 5610218"/>
              <a:gd name="connsiteY0" fmla="*/ 3330054 h 3330054"/>
              <a:gd name="connsiteX1" fmla="*/ 5610218 w 5610218"/>
              <a:gd name="connsiteY1" fmla="*/ 0 h 3330054"/>
              <a:gd name="connsiteX0" fmla="*/ 271955 w 5621878"/>
              <a:gd name="connsiteY0" fmla="*/ 3338796 h 3338796"/>
              <a:gd name="connsiteX1" fmla="*/ 5621878 w 5621878"/>
              <a:gd name="connsiteY1" fmla="*/ 8742 h 3338796"/>
              <a:gd name="connsiteX0" fmla="*/ 377323 w 5727246"/>
              <a:gd name="connsiteY0" fmla="*/ 3340808 h 3340808"/>
              <a:gd name="connsiteX1" fmla="*/ 5727246 w 5727246"/>
              <a:gd name="connsiteY1" fmla="*/ 10754 h 3340808"/>
              <a:gd name="connsiteX0" fmla="*/ 753184 w 6103107"/>
              <a:gd name="connsiteY0" fmla="*/ 3344266 h 3344266"/>
              <a:gd name="connsiteX1" fmla="*/ 6103107 w 6103107"/>
              <a:gd name="connsiteY1" fmla="*/ 14212 h 3344266"/>
              <a:gd name="connsiteX0" fmla="*/ 1024371 w 6374294"/>
              <a:gd name="connsiteY0" fmla="*/ 3349149 h 3349149"/>
              <a:gd name="connsiteX1" fmla="*/ 6374294 w 6374294"/>
              <a:gd name="connsiteY1" fmla="*/ 19095 h 3349149"/>
              <a:gd name="connsiteX0" fmla="*/ 1309085 w 6659008"/>
              <a:gd name="connsiteY0" fmla="*/ 3367362 h 3367362"/>
              <a:gd name="connsiteX1" fmla="*/ 6659008 w 6659008"/>
              <a:gd name="connsiteY1" fmla="*/ 37308 h 3367362"/>
              <a:gd name="connsiteX0" fmla="*/ 1690848 w 7040771"/>
              <a:gd name="connsiteY0" fmla="*/ 3370322 h 3370322"/>
              <a:gd name="connsiteX1" fmla="*/ 7040771 w 7040771"/>
              <a:gd name="connsiteY1" fmla="*/ 40268 h 3370322"/>
              <a:gd name="connsiteX0" fmla="*/ 1905035 w 7254958"/>
              <a:gd name="connsiteY0" fmla="*/ 3372206 h 3372206"/>
              <a:gd name="connsiteX1" fmla="*/ 7254958 w 7254958"/>
              <a:gd name="connsiteY1" fmla="*/ 42152 h 3372206"/>
              <a:gd name="connsiteX0" fmla="*/ 3619954 w 8969877"/>
              <a:gd name="connsiteY0" fmla="*/ 3448399 h 3448399"/>
              <a:gd name="connsiteX1" fmla="*/ 8969877 w 8969877"/>
              <a:gd name="connsiteY1" fmla="*/ 118345 h 3448399"/>
              <a:gd name="connsiteX0" fmla="*/ 3153504 w 8503427"/>
              <a:gd name="connsiteY0" fmla="*/ 3615019 h 3615019"/>
              <a:gd name="connsiteX1" fmla="*/ 8503427 w 8503427"/>
              <a:gd name="connsiteY1" fmla="*/ 284965 h 3615019"/>
              <a:gd name="connsiteX0" fmla="*/ 3915960 w 6264989"/>
              <a:gd name="connsiteY0" fmla="*/ 3731036 h 3731036"/>
              <a:gd name="connsiteX1" fmla="*/ 6264989 w 6264989"/>
              <a:gd name="connsiteY1" fmla="*/ 231029 h 3731036"/>
              <a:gd name="connsiteX0" fmla="*/ 3139371 w 5488400"/>
              <a:gd name="connsiteY0" fmla="*/ 3615612 h 3615612"/>
              <a:gd name="connsiteX1" fmla="*/ 5488400 w 5488400"/>
              <a:gd name="connsiteY1" fmla="*/ 115605 h 3615612"/>
              <a:gd name="connsiteX0" fmla="*/ 3154032 w 5503061"/>
              <a:gd name="connsiteY0" fmla="*/ 3539160 h 3539160"/>
              <a:gd name="connsiteX1" fmla="*/ 5503061 w 5503061"/>
              <a:gd name="connsiteY1" fmla="*/ 39153 h 3539160"/>
              <a:gd name="connsiteX0" fmla="*/ 3737485 w 6086514"/>
              <a:gd name="connsiteY0" fmla="*/ 3500008 h 3500008"/>
              <a:gd name="connsiteX1" fmla="*/ 6086514 w 6086514"/>
              <a:gd name="connsiteY1" fmla="*/ 1 h 3500008"/>
              <a:gd name="connsiteX0" fmla="*/ 3752176 w 6101205"/>
              <a:gd name="connsiteY0" fmla="*/ 3500006 h 3500006"/>
              <a:gd name="connsiteX1" fmla="*/ 6101205 w 6101205"/>
              <a:gd name="connsiteY1" fmla="*/ -1 h 3500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101205" h="3500006">
                <a:moveTo>
                  <a:pt x="3752176" y="3500006"/>
                </a:moveTo>
                <a:cubicBezTo>
                  <a:pt x="-5329161" y="-258499"/>
                  <a:pt x="4756775" y="162685"/>
                  <a:pt x="6101205" y="-1"/>
                </a:cubicBezTo>
              </a:path>
            </a:pathLst>
          </a:custGeom>
          <a:noFill/>
          <a:ln w="47625">
            <a:gradFill>
              <a:gsLst>
                <a:gs pos="56000">
                  <a:schemeClr val="accent4"/>
                </a:gs>
                <a:gs pos="84000">
                  <a:schemeClr val="accent4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олилиния 23"/>
          <p:cNvSpPr/>
          <p:nvPr userDrawn="1"/>
        </p:nvSpPr>
        <p:spPr>
          <a:xfrm>
            <a:off x="8545693" y="3010992"/>
            <a:ext cx="3693010" cy="85183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260295 w 5610218"/>
              <a:gd name="connsiteY0" fmla="*/ 3330054 h 3330054"/>
              <a:gd name="connsiteX1" fmla="*/ 5610218 w 5610218"/>
              <a:gd name="connsiteY1" fmla="*/ 0 h 3330054"/>
              <a:gd name="connsiteX0" fmla="*/ 271955 w 5621878"/>
              <a:gd name="connsiteY0" fmla="*/ 3338796 h 3338796"/>
              <a:gd name="connsiteX1" fmla="*/ 5621878 w 5621878"/>
              <a:gd name="connsiteY1" fmla="*/ 8742 h 3338796"/>
              <a:gd name="connsiteX0" fmla="*/ 377323 w 5727246"/>
              <a:gd name="connsiteY0" fmla="*/ 3340808 h 3340808"/>
              <a:gd name="connsiteX1" fmla="*/ 5727246 w 5727246"/>
              <a:gd name="connsiteY1" fmla="*/ 10754 h 3340808"/>
              <a:gd name="connsiteX0" fmla="*/ 753184 w 6103107"/>
              <a:gd name="connsiteY0" fmla="*/ 3344266 h 3344266"/>
              <a:gd name="connsiteX1" fmla="*/ 6103107 w 6103107"/>
              <a:gd name="connsiteY1" fmla="*/ 14212 h 3344266"/>
              <a:gd name="connsiteX0" fmla="*/ 1024371 w 6374294"/>
              <a:gd name="connsiteY0" fmla="*/ 3349149 h 3349149"/>
              <a:gd name="connsiteX1" fmla="*/ 6374294 w 6374294"/>
              <a:gd name="connsiteY1" fmla="*/ 19095 h 3349149"/>
              <a:gd name="connsiteX0" fmla="*/ 1309085 w 6659008"/>
              <a:gd name="connsiteY0" fmla="*/ 3367362 h 3367362"/>
              <a:gd name="connsiteX1" fmla="*/ 6659008 w 6659008"/>
              <a:gd name="connsiteY1" fmla="*/ 37308 h 3367362"/>
              <a:gd name="connsiteX0" fmla="*/ 1690848 w 7040771"/>
              <a:gd name="connsiteY0" fmla="*/ 3370322 h 3370322"/>
              <a:gd name="connsiteX1" fmla="*/ 7040771 w 7040771"/>
              <a:gd name="connsiteY1" fmla="*/ 40268 h 3370322"/>
              <a:gd name="connsiteX0" fmla="*/ 1905035 w 7254958"/>
              <a:gd name="connsiteY0" fmla="*/ 3372206 h 3372206"/>
              <a:gd name="connsiteX1" fmla="*/ 7254958 w 7254958"/>
              <a:gd name="connsiteY1" fmla="*/ 42152 h 3372206"/>
              <a:gd name="connsiteX0" fmla="*/ 3619954 w 8969877"/>
              <a:gd name="connsiteY0" fmla="*/ 3448399 h 3448399"/>
              <a:gd name="connsiteX1" fmla="*/ 8969877 w 8969877"/>
              <a:gd name="connsiteY1" fmla="*/ 118345 h 3448399"/>
              <a:gd name="connsiteX0" fmla="*/ 3153504 w 8503427"/>
              <a:gd name="connsiteY0" fmla="*/ 3615019 h 3615019"/>
              <a:gd name="connsiteX1" fmla="*/ 8503427 w 8503427"/>
              <a:gd name="connsiteY1" fmla="*/ 284965 h 3615019"/>
              <a:gd name="connsiteX0" fmla="*/ 3915960 w 6264989"/>
              <a:gd name="connsiteY0" fmla="*/ 3731036 h 3731036"/>
              <a:gd name="connsiteX1" fmla="*/ 6264989 w 6264989"/>
              <a:gd name="connsiteY1" fmla="*/ 231029 h 3731036"/>
              <a:gd name="connsiteX0" fmla="*/ 3139371 w 5488400"/>
              <a:gd name="connsiteY0" fmla="*/ 3615612 h 3615612"/>
              <a:gd name="connsiteX1" fmla="*/ 5488400 w 5488400"/>
              <a:gd name="connsiteY1" fmla="*/ 115605 h 3615612"/>
              <a:gd name="connsiteX0" fmla="*/ 3154032 w 5503061"/>
              <a:gd name="connsiteY0" fmla="*/ 3539160 h 3539160"/>
              <a:gd name="connsiteX1" fmla="*/ 5503061 w 5503061"/>
              <a:gd name="connsiteY1" fmla="*/ 39153 h 3539160"/>
              <a:gd name="connsiteX0" fmla="*/ 3737485 w 6086514"/>
              <a:gd name="connsiteY0" fmla="*/ 3500008 h 3500008"/>
              <a:gd name="connsiteX1" fmla="*/ 6086514 w 6086514"/>
              <a:gd name="connsiteY1" fmla="*/ 1 h 3500008"/>
              <a:gd name="connsiteX0" fmla="*/ 3752176 w 6101205"/>
              <a:gd name="connsiteY0" fmla="*/ 3500006 h 3500006"/>
              <a:gd name="connsiteX1" fmla="*/ 6101205 w 6101205"/>
              <a:gd name="connsiteY1" fmla="*/ -1 h 3500006"/>
              <a:gd name="connsiteX0" fmla="*/ 4392427 w 4392428"/>
              <a:gd name="connsiteY0" fmla="*/ 3188810 h 3188810"/>
              <a:gd name="connsiteX1" fmla="*/ 4255604 w 4392428"/>
              <a:gd name="connsiteY1" fmla="*/ 0 h 3188810"/>
              <a:gd name="connsiteX0" fmla="*/ 4172225 w 4172225"/>
              <a:gd name="connsiteY0" fmla="*/ 3188810 h 3188810"/>
              <a:gd name="connsiteX1" fmla="*/ 4035402 w 4172225"/>
              <a:gd name="connsiteY1" fmla="*/ 0 h 3188810"/>
              <a:gd name="connsiteX0" fmla="*/ 3769161 w 3769161"/>
              <a:gd name="connsiteY0" fmla="*/ 3188810 h 3188810"/>
              <a:gd name="connsiteX1" fmla="*/ 3632338 w 3769161"/>
              <a:gd name="connsiteY1" fmla="*/ 0 h 318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69161" h="3188810">
                <a:moveTo>
                  <a:pt x="3769161" y="3188810"/>
                </a:moveTo>
                <a:cubicBezTo>
                  <a:pt x="-4404373" y="1919807"/>
                  <a:pt x="3195711" y="473850"/>
                  <a:pt x="3632338" y="0"/>
                </a:cubicBezTo>
              </a:path>
            </a:pathLst>
          </a:custGeom>
          <a:noFill/>
          <a:ln w="47625">
            <a:gradFill>
              <a:gsLst>
                <a:gs pos="37000">
                  <a:schemeClr val="accent4"/>
                </a:gs>
                <a:gs pos="56000">
                  <a:schemeClr val="accent4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олилиния 24"/>
          <p:cNvSpPr/>
          <p:nvPr userDrawn="1"/>
        </p:nvSpPr>
        <p:spPr>
          <a:xfrm flipV="1">
            <a:off x="7032625" y="-33365"/>
            <a:ext cx="5266796" cy="2487180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266796"/>
              <a:gd name="connsiteY0" fmla="*/ 3073265 h 3073265"/>
              <a:gd name="connsiteX1" fmla="*/ 5266796 w 5266796"/>
              <a:gd name="connsiteY1" fmla="*/ 0 h 3073265"/>
              <a:gd name="connsiteX0" fmla="*/ 0 w 5266796"/>
              <a:gd name="connsiteY0" fmla="*/ 3073265 h 3073265"/>
              <a:gd name="connsiteX1" fmla="*/ 5266796 w 5266796"/>
              <a:gd name="connsiteY1" fmla="*/ 0 h 3073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266796" h="3073265">
                <a:moveTo>
                  <a:pt x="0" y="3073265"/>
                </a:moveTo>
                <a:cubicBezTo>
                  <a:pt x="31846" y="1956423"/>
                  <a:pt x="551908" y="52317"/>
                  <a:pt x="5266796" y="0"/>
                </a:cubicBezTo>
              </a:path>
            </a:pathLst>
          </a:custGeom>
          <a:noFill/>
          <a:ln w="19050">
            <a:gradFill>
              <a:gsLst>
                <a:gs pos="57000">
                  <a:schemeClr val="accent4"/>
                </a:gs>
                <a:gs pos="94000">
                  <a:schemeClr val="accent4">
                    <a:lumMod val="35000"/>
                    <a:lumOff val="65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олилиния 25"/>
          <p:cNvSpPr/>
          <p:nvPr userDrawn="1"/>
        </p:nvSpPr>
        <p:spPr>
          <a:xfrm flipV="1">
            <a:off x="7254564" y="-102695"/>
            <a:ext cx="4859472" cy="2576444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4859472"/>
              <a:gd name="connsiteY0" fmla="*/ 3021907 h 3021907"/>
              <a:gd name="connsiteX1" fmla="*/ 4859472 w 4859472"/>
              <a:gd name="connsiteY1" fmla="*/ 0 h 3021907"/>
              <a:gd name="connsiteX0" fmla="*/ 0 w 4859472"/>
              <a:gd name="connsiteY0" fmla="*/ 3021907 h 3021907"/>
              <a:gd name="connsiteX1" fmla="*/ 4859472 w 4859472"/>
              <a:gd name="connsiteY1" fmla="*/ 0 h 3021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859472" h="3021907">
                <a:moveTo>
                  <a:pt x="0" y="3021907"/>
                </a:moveTo>
                <a:cubicBezTo>
                  <a:pt x="31846" y="1905065"/>
                  <a:pt x="585159" y="52317"/>
                  <a:pt x="4859472" y="0"/>
                </a:cubicBezTo>
              </a:path>
            </a:pathLst>
          </a:custGeom>
          <a:noFill/>
          <a:ln w="19050">
            <a:gradFill>
              <a:gsLst>
                <a:gs pos="22000">
                  <a:schemeClr val="accent3"/>
                </a:gs>
                <a:gs pos="97000">
                  <a:schemeClr val="accent3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олилиния 26"/>
          <p:cNvSpPr/>
          <p:nvPr userDrawn="1"/>
        </p:nvSpPr>
        <p:spPr>
          <a:xfrm flipV="1">
            <a:off x="7767021" y="-5233"/>
            <a:ext cx="4400039" cy="2503805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149796 w 5499719"/>
              <a:gd name="connsiteY0" fmla="*/ 3330054 h 3330054"/>
              <a:gd name="connsiteX1" fmla="*/ 5499719 w 5499719"/>
              <a:gd name="connsiteY1" fmla="*/ 0 h 3330054"/>
              <a:gd name="connsiteX0" fmla="*/ 151738 w 5470654"/>
              <a:gd name="connsiteY0" fmla="*/ 3093808 h 3093808"/>
              <a:gd name="connsiteX1" fmla="*/ 5470654 w 5470654"/>
              <a:gd name="connsiteY1" fmla="*/ 0 h 3093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470654" h="3093808">
                <a:moveTo>
                  <a:pt x="151738" y="3093808"/>
                </a:moveTo>
                <a:cubicBezTo>
                  <a:pt x="-498550" y="1134698"/>
                  <a:pt x="880457" y="52317"/>
                  <a:pt x="5470654" y="0"/>
                </a:cubicBezTo>
              </a:path>
            </a:pathLst>
          </a:custGeom>
          <a:noFill/>
          <a:ln w="19050" cap="rnd">
            <a:gradFill>
              <a:gsLst>
                <a:gs pos="65000">
                  <a:schemeClr val="accent2"/>
                </a:gs>
                <a:gs pos="69000">
                  <a:schemeClr val="accent2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олилиния 27"/>
          <p:cNvSpPr/>
          <p:nvPr userDrawn="1"/>
        </p:nvSpPr>
        <p:spPr>
          <a:xfrm flipV="1">
            <a:off x="8075308" y="-19093"/>
            <a:ext cx="4104458" cy="2732615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1007721 w 6357644"/>
              <a:gd name="connsiteY0" fmla="*/ 3330054 h 3330054"/>
              <a:gd name="connsiteX1" fmla="*/ 6357644 w 6357644"/>
              <a:gd name="connsiteY1" fmla="*/ 0 h 33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357644" h="3330054">
                <a:moveTo>
                  <a:pt x="1007721" y="3330054"/>
                </a:moveTo>
                <a:cubicBezTo>
                  <a:pt x="-1831800" y="734109"/>
                  <a:pt x="1767447" y="52317"/>
                  <a:pt x="6357644" y="0"/>
                </a:cubicBezTo>
              </a:path>
            </a:pathLst>
          </a:custGeom>
          <a:noFill/>
          <a:ln w="25400">
            <a:gradFill>
              <a:gsLst>
                <a:gs pos="65000">
                  <a:schemeClr val="accent1"/>
                </a:gs>
                <a:gs pos="73000">
                  <a:schemeClr val="bg1"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олилиния 28"/>
          <p:cNvSpPr/>
          <p:nvPr userDrawn="1"/>
        </p:nvSpPr>
        <p:spPr>
          <a:xfrm flipV="1">
            <a:off x="8109300" y="4777"/>
            <a:ext cx="4082700" cy="2694998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1007721 w 6357644"/>
              <a:gd name="connsiteY0" fmla="*/ 3330054 h 3330054"/>
              <a:gd name="connsiteX1" fmla="*/ 6357644 w 6357644"/>
              <a:gd name="connsiteY1" fmla="*/ 0 h 3330054"/>
              <a:gd name="connsiteX0" fmla="*/ 1124300 w 6474223"/>
              <a:gd name="connsiteY0" fmla="*/ 3330054 h 3330054"/>
              <a:gd name="connsiteX1" fmla="*/ 6474223 w 6474223"/>
              <a:gd name="connsiteY1" fmla="*/ 0 h 33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474223" h="3330054">
                <a:moveTo>
                  <a:pt x="1124300" y="3330054"/>
                </a:moveTo>
                <a:cubicBezTo>
                  <a:pt x="-1992045" y="518406"/>
                  <a:pt x="1884026" y="52317"/>
                  <a:pt x="6474223" y="0"/>
                </a:cubicBezTo>
              </a:path>
            </a:pathLst>
          </a:custGeom>
          <a:noFill/>
          <a:ln w="25400" cap="rnd">
            <a:gradFill>
              <a:gsLst>
                <a:gs pos="0">
                  <a:schemeClr val="accent2"/>
                </a:gs>
                <a:gs pos="100000">
                  <a:srgbClr val="C4E5F7">
                    <a:alpha val="0"/>
                  </a:srgb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олилиния 29"/>
          <p:cNvSpPr/>
          <p:nvPr userDrawn="1"/>
        </p:nvSpPr>
        <p:spPr>
          <a:xfrm flipV="1">
            <a:off x="8188538" y="-45090"/>
            <a:ext cx="4025220" cy="2694998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1007721 w 6357644"/>
              <a:gd name="connsiteY0" fmla="*/ 3330054 h 3330054"/>
              <a:gd name="connsiteX1" fmla="*/ 6357644 w 6357644"/>
              <a:gd name="connsiteY1" fmla="*/ 0 h 3330054"/>
              <a:gd name="connsiteX0" fmla="*/ 1124300 w 6474223"/>
              <a:gd name="connsiteY0" fmla="*/ 3330054 h 3330054"/>
              <a:gd name="connsiteX1" fmla="*/ 6474223 w 6474223"/>
              <a:gd name="connsiteY1" fmla="*/ 0 h 3330054"/>
              <a:gd name="connsiteX0" fmla="*/ 1459528 w 6809451"/>
              <a:gd name="connsiteY0" fmla="*/ 3330054 h 3330054"/>
              <a:gd name="connsiteX1" fmla="*/ 6809451 w 6809451"/>
              <a:gd name="connsiteY1" fmla="*/ 0 h 33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09451" h="3330054">
                <a:moveTo>
                  <a:pt x="1459528" y="3330054"/>
                </a:moveTo>
                <a:cubicBezTo>
                  <a:pt x="-2444324" y="395147"/>
                  <a:pt x="2219254" y="52317"/>
                  <a:pt x="6809451" y="0"/>
                </a:cubicBezTo>
              </a:path>
            </a:pathLst>
          </a:custGeom>
          <a:noFill/>
          <a:ln w="34925">
            <a:gradFill>
              <a:gsLst>
                <a:gs pos="65000">
                  <a:schemeClr val="accent2"/>
                </a:gs>
                <a:gs pos="85000">
                  <a:schemeClr val="accent2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олилиния 30"/>
          <p:cNvSpPr/>
          <p:nvPr userDrawn="1"/>
        </p:nvSpPr>
        <p:spPr>
          <a:xfrm flipV="1">
            <a:off x="8271045" y="33251"/>
            <a:ext cx="3954948" cy="2661747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1007721 w 6357644"/>
              <a:gd name="connsiteY0" fmla="*/ 3330054 h 3330054"/>
              <a:gd name="connsiteX1" fmla="*/ 6357644 w 6357644"/>
              <a:gd name="connsiteY1" fmla="*/ 0 h 3330054"/>
              <a:gd name="connsiteX0" fmla="*/ 1124300 w 6474223"/>
              <a:gd name="connsiteY0" fmla="*/ 3330054 h 3330054"/>
              <a:gd name="connsiteX1" fmla="*/ 6474223 w 6474223"/>
              <a:gd name="connsiteY1" fmla="*/ 0 h 3330054"/>
              <a:gd name="connsiteX0" fmla="*/ 1459528 w 6809451"/>
              <a:gd name="connsiteY0" fmla="*/ 3330054 h 3330054"/>
              <a:gd name="connsiteX1" fmla="*/ 6809451 w 6809451"/>
              <a:gd name="connsiteY1" fmla="*/ 0 h 3330054"/>
              <a:gd name="connsiteX0" fmla="*/ 1507944 w 6582331"/>
              <a:gd name="connsiteY0" fmla="*/ 3288968 h 3288968"/>
              <a:gd name="connsiteX1" fmla="*/ 6582331 w 6582331"/>
              <a:gd name="connsiteY1" fmla="*/ 0 h 3288968"/>
              <a:gd name="connsiteX0" fmla="*/ 3118838 w 8193225"/>
              <a:gd name="connsiteY0" fmla="*/ 3288968 h 3288968"/>
              <a:gd name="connsiteX1" fmla="*/ 8193225 w 8193225"/>
              <a:gd name="connsiteY1" fmla="*/ 0 h 3288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193225" h="3288968">
                <a:moveTo>
                  <a:pt x="3118838" y="3288968"/>
                </a:moveTo>
                <a:cubicBezTo>
                  <a:pt x="-4470303" y="138359"/>
                  <a:pt x="3603028" y="52317"/>
                  <a:pt x="8193225" y="0"/>
                </a:cubicBezTo>
              </a:path>
            </a:pathLst>
          </a:custGeom>
          <a:noFill/>
          <a:ln w="34925" cap="rnd">
            <a:gradFill>
              <a:gsLst>
                <a:gs pos="61000">
                  <a:schemeClr val="accent4"/>
                </a:gs>
                <a:gs pos="93000">
                  <a:schemeClr val="bg1"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олилиния 31"/>
          <p:cNvSpPr/>
          <p:nvPr userDrawn="1"/>
        </p:nvSpPr>
        <p:spPr>
          <a:xfrm flipV="1">
            <a:off x="8376637" y="33956"/>
            <a:ext cx="3718382" cy="2655810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1007721 w 6357644"/>
              <a:gd name="connsiteY0" fmla="*/ 3330054 h 3330054"/>
              <a:gd name="connsiteX1" fmla="*/ 6357644 w 6357644"/>
              <a:gd name="connsiteY1" fmla="*/ 0 h 3330054"/>
              <a:gd name="connsiteX0" fmla="*/ 1124300 w 6474223"/>
              <a:gd name="connsiteY0" fmla="*/ 3330054 h 3330054"/>
              <a:gd name="connsiteX1" fmla="*/ 6474223 w 6474223"/>
              <a:gd name="connsiteY1" fmla="*/ 0 h 3330054"/>
              <a:gd name="connsiteX0" fmla="*/ 1459528 w 6809451"/>
              <a:gd name="connsiteY0" fmla="*/ 3330054 h 3330054"/>
              <a:gd name="connsiteX1" fmla="*/ 6809451 w 6809451"/>
              <a:gd name="connsiteY1" fmla="*/ 0 h 3330054"/>
              <a:gd name="connsiteX0" fmla="*/ 1507944 w 6582331"/>
              <a:gd name="connsiteY0" fmla="*/ 3288968 h 3288968"/>
              <a:gd name="connsiteX1" fmla="*/ 6582331 w 6582331"/>
              <a:gd name="connsiteY1" fmla="*/ 0 h 3288968"/>
              <a:gd name="connsiteX0" fmla="*/ 3118838 w 8193225"/>
              <a:gd name="connsiteY0" fmla="*/ 3288968 h 3288968"/>
              <a:gd name="connsiteX1" fmla="*/ 8193225 w 8193225"/>
              <a:gd name="connsiteY1" fmla="*/ 0 h 3288968"/>
              <a:gd name="connsiteX0" fmla="*/ 4338715 w 5093892"/>
              <a:gd name="connsiteY0" fmla="*/ 3281632 h 3281632"/>
              <a:gd name="connsiteX1" fmla="*/ 5093892 w 5093892"/>
              <a:gd name="connsiteY1" fmla="*/ 0 h 3281632"/>
              <a:gd name="connsiteX0" fmla="*/ 17520832 w 18276009"/>
              <a:gd name="connsiteY0" fmla="*/ 3281632 h 3281632"/>
              <a:gd name="connsiteX1" fmla="*/ 18276009 w 18276009"/>
              <a:gd name="connsiteY1" fmla="*/ 0 h 328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8276009" h="3281632">
                <a:moveTo>
                  <a:pt x="17520832" y="3281632"/>
                </a:moveTo>
                <a:cubicBezTo>
                  <a:pt x="-19981770" y="-294514"/>
                  <a:pt x="13685812" y="52317"/>
                  <a:pt x="18276009" y="0"/>
                </a:cubicBezTo>
              </a:path>
            </a:pathLst>
          </a:custGeom>
          <a:noFill/>
          <a:ln w="25400">
            <a:gradFill>
              <a:gsLst>
                <a:gs pos="61000">
                  <a:schemeClr val="accent1"/>
                </a:gs>
                <a:gs pos="93000">
                  <a:schemeClr val="bg1"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олилиния 32"/>
          <p:cNvSpPr/>
          <p:nvPr userDrawn="1"/>
        </p:nvSpPr>
        <p:spPr>
          <a:xfrm flipV="1">
            <a:off x="8409656" y="267727"/>
            <a:ext cx="3460250" cy="2469151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1007721 w 6357644"/>
              <a:gd name="connsiteY0" fmla="*/ 3330054 h 3330054"/>
              <a:gd name="connsiteX1" fmla="*/ 6357644 w 6357644"/>
              <a:gd name="connsiteY1" fmla="*/ 0 h 3330054"/>
              <a:gd name="connsiteX0" fmla="*/ 1124300 w 6474223"/>
              <a:gd name="connsiteY0" fmla="*/ 3330054 h 3330054"/>
              <a:gd name="connsiteX1" fmla="*/ 6474223 w 6474223"/>
              <a:gd name="connsiteY1" fmla="*/ 0 h 3330054"/>
              <a:gd name="connsiteX0" fmla="*/ 1459528 w 6809451"/>
              <a:gd name="connsiteY0" fmla="*/ 3330054 h 3330054"/>
              <a:gd name="connsiteX1" fmla="*/ 6809451 w 6809451"/>
              <a:gd name="connsiteY1" fmla="*/ 0 h 3330054"/>
              <a:gd name="connsiteX0" fmla="*/ 1507944 w 6582331"/>
              <a:gd name="connsiteY0" fmla="*/ 3288968 h 3288968"/>
              <a:gd name="connsiteX1" fmla="*/ 6582331 w 6582331"/>
              <a:gd name="connsiteY1" fmla="*/ 0 h 3288968"/>
              <a:gd name="connsiteX0" fmla="*/ 3118838 w 8193225"/>
              <a:gd name="connsiteY0" fmla="*/ 3288968 h 3288968"/>
              <a:gd name="connsiteX1" fmla="*/ 8193225 w 8193225"/>
              <a:gd name="connsiteY1" fmla="*/ 0 h 3288968"/>
              <a:gd name="connsiteX0" fmla="*/ 4338715 w 5093892"/>
              <a:gd name="connsiteY0" fmla="*/ 3281632 h 3281632"/>
              <a:gd name="connsiteX1" fmla="*/ 5093892 w 5093892"/>
              <a:gd name="connsiteY1" fmla="*/ 0 h 3281632"/>
              <a:gd name="connsiteX0" fmla="*/ 17520832 w 18276009"/>
              <a:gd name="connsiteY0" fmla="*/ 3281632 h 3281632"/>
              <a:gd name="connsiteX1" fmla="*/ 18276009 w 18276009"/>
              <a:gd name="connsiteY1" fmla="*/ 0 h 3281632"/>
              <a:gd name="connsiteX0" fmla="*/ 16252102 w 17007279"/>
              <a:gd name="connsiteY0" fmla="*/ 3281632 h 3281632"/>
              <a:gd name="connsiteX1" fmla="*/ 17007279 w 17007279"/>
              <a:gd name="connsiteY1" fmla="*/ 0 h 328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007279" h="3281632">
                <a:moveTo>
                  <a:pt x="16252102" y="3281632"/>
                </a:moveTo>
                <a:cubicBezTo>
                  <a:pt x="-18390480" y="-57770"/>
                  <a:pt x="12417082" y="52317"/>
                  <a:pt x="17007279" y="0"/>
                </a:cubicBezTo>
              </a:path>
            </a:pathLst>
          </a:custGeom>
          <a:noFill/>
          <a:ln w="47625" cap="rnd">
            <a:gradFill>
              <a:gsLst>
                <a:gs pos="61000">
                  <a:schemeClr val="accent4"/>
                </a:gs>
                <a:gs pos="93000">
                  <a:schemeClr val="bg1"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олилиния 33"/>
          <p:cNvSpPr/>
          <p:nvPr userDrawn="1"/>
        </p:nvSpPr>
        <p:spPr>
          <a:xfrm flipV="1">
            <a:off x="8487550" y="1269212"/>
            <a:ext cx="3570382" cy="1430061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1007721 w 6357644"/>
              <a:gd name="connsiteY0" fmla="*/ 3330054 h 3330054"/>
              <a:gd name="connsiteX1" fmla="*/ 6357644 w 6357644"/>
              <a:gd name="connsiteY1" fmla="*/ 0 h 3330054"/>
              <a:gd name="connsiteX0" fmla="*/ 1124300 w 6474223"/>
              <a:gd name="connsiteY0" fmla="*/ 3330054 h 3330054"/>
              <a:gd name="connsiteX1" fmla="*/ 6474223 w 6474223"/>
              <a:gd name="connsiteY1" fmla="*/ 0 h 3330054"/>
              <a:gd name="connsiteX0" fmla="*/ 1459528 w 6809451"/>
              <a:gd name="connsiteY0" fmla="*/ 3330054 h 3330054"/>
              <a:gd name="connsiteX1" fmla="*/ 6809451 w 6809451"/>
              <a:gd name="connsiteY1" fmla="*/ 0 h 3330054"/>
              <a:gd name="connsiteX0" fmla="*/ 1507944 w 6582331"/>
              <a:gd name="connsiteY0" fmla="*/ 3288968 h 3288968"/>
              <a:gd name="connsiteX1" fmla="*/ 6582331 w 6582331"/>
              <a:gd name="connsiteY1" fmla="*/ 0 h 3288968"/>
              <a:gd name="connsiteX0" fmla="*/ 3118838 w 8193225"/>
              <a:gd name="connsiteY0" fmla="*/ 3288968 h 3288968"/>
              <a:gd name="connsiteX1" fmla="*/ 8193225 w 8193225"/>
              <a:gd name="connsiteY1" fmla="*/ 0 h 3288968"/>
              <a:gd name="connsiteX0" fmla="*/ 4338715 w 5093892"/>
              <a:gd name="connsiteY0" fmla="*/ 3281632 h 3281632"/>
              <a:gd name="connsiteX1" fmla="*/ 5093892 w 5093892"/>
              <a:gd name="connsiteY1" fmla="*/ 0 h 3281632"/>
              <a:gd name="connsiteX0" fmla="*/ 17520832 w 18276009"/>
              <a:gd name="connsiteY0" fmla="*/ 3281632 h 3281632"/>
              <a:gd name="connsiteX1" fmla="*/ 18276009 w 18276009"/>
              <a:gd name="connsiteY1" fmla="*/ 0 h 3281632"/>
              <a:gd name="connsiteX0" fmla="*/ 16252102 w 17007279"/>
              <a:gd name="connsiteY0" fmla="*/ 3281632 h 3281632"/>
              <a:gd name="connsiteX1" fmla="*/ 17007279 w 17007279"/>
              <a:gd name="connsiteY1" fmla="*/ 0 h 3281632"/>
              <a:gd name="connsiteX0" fmla="*/ 14617757 w 21764201"/>
              <a:gd name="connsiteY0" fmla="*/ 2335564 h 2335564"/>
              <a:gd name="connsiteX1" fmla="*/ 21764201 w 21764201"/>
              <a:gd name="connsiteY1" fmla="*/ 182411 h 2335564"/>
              <a:gd name="connsiteX0" fmla="*/ 10420398 w 17566842"/>
              <a:gd name="connsiteY0" fmla="*/ 2153153 h 2153153"/>
              <a:gd name="connsiteX1" fmla="*/ 17566842 w 17566842"/>
              <a:gd name="connsiteY1" fmla="*/ 0 h 2153153"/>
              <a:gd name="connsiteX0" fmla="*/ 10381697 w 17703244"/>
              <a:gd name="connsiteY0" fmla="*/ 1900626 h 1900626"/>
              <a:gd name="connsiteX1" fmla="*/ 17703244 w 17703244"/>
              <a:gd name="connsiteY1" fmla="*/ 0 h 1900626"/>
              <a:gd name="connsiteX0" fmla="*/ 10227035 w 17548582"/>
              <a:gd name="connsiteY0" fmla="*/ 1900626 h 1900626"/>
              <a:gd name="connsiteX1" fmla="*/ 17548582 w 17548582"/>
              <a:gd name="connsiteY1" fmla="*/ 0 h 1900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548582" h="1900626">
                <a:moveTo>
                  <a:pt x="10227035" y="1900626"/>
                </a:moveTo>
                <a:cubicBezTo>
                  <a:pt x="-14580580" y="-239272"/>
                  <a:pt x="12958385" y="52317"/>
                  <a:pt x="17548582" y="0"/>
                </a:cubicBezTo>
              </a:path>
            </a:pathLst>
          </a:custGeom>
          <a:noFill/>
          <a:ln w="47625" cap="rnd">
            <a:gradFill>
              <a:gsLst>
                <a:gs pos="61000">
                  <a:schemeClr val="accent4"/>
                </a:gs>
                <a:gs pos="80000">
                  <a:schemeClr val="bg1"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олилиния 34"/>
          <p:cNvSpPr/>
          <p:nvPr userDrawn="1"/>
        </p:nvSpPr>
        <p:spPr>
          <a:xfrm flipV="1">
            <a:off x="8460170" y="1581929"/>
            <a:ext cx="3708597" cy="1119717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1007721 w 6357644"/>
              <a:gd name="connsiteY0" fmla="*/ 3330054 h 3330054"/>
              <a:gd name="connsiteX1" fmla="*/ 6357644 w 6357644"/>
              <a:gd name="connsiteY1" fmla="*/ 0 h 3330054"/>
              <a:gd name="connsiteX0" fmla="*/ 1124300 w 6474223"/>
              <a:gd name="connsiteY0" fmla="*/ 3330054 h 3330054"/>
              <a:gd name="connsiteX1" fmla="*/ 6474223 w 6474223"/>
              <a:gd name="connsiteY1" fmla="*/ 0 h 3330054"/>
              <a:gd name="connsiteX0" fmla="*/ 1459528 w 6809451"/>
              <a:gd name="connsiteY0" fmla="*/ 3330054 h 3330054"/>
              <a:gd name="connsiteX1" fmla="*/ 6809451 w 6809451"/>
              <a:gd name="connsiteY1" fmla="*/ 0 h 3330054"/>
              <a:gd name="connsiteX0" fmla="*/ 1507944 w 6582331"/>
              <a:gd name="connsiteY0" fmla="*/ 3288968 h 3288968"/>
              <a:gd name="connsiteX1" fmla="*/ 6582331 w 6582331"/>
              <a:gd name="connsiteY1" fmla="*/ 0 h 3288968"/>
              <a:gd name="connsiteX0" fmla="*/ 3118838 w 8193225"/>
              <a:gd name="connsiteY0" fmla="*/ 3288968 h 3288968"/>
              <a:gd name="connsiteX1" fmla="*/ 8193225 w 8193225"/>
              <a:gd name="connsiteY1" fmla="*/ 0 h 3288968"/>
              <a:gd name="connsiteX0" fmla="*/ 4338715 w 5093892"/>
              <a:gd name="connsiteY0" fmla="*/ 3281632 h 3281632"/>
              <a:gd name="connsiteX1" fmla="*/ 5093892 w 5093892"/>
              <a:gd name="connsiteY1" fmla="*/ 0 h 3281632"/>
              <a:gd name="connsiteX0" fmla="*/ 17520832 w 18276009"/>
              <a:gd name="connsiteY0" fmla="*/ 3281632 h 3281632"/>
              <a:gd name="connsiteX1" fmla="*/ 18276009 w 18276009"/>
              <a:gd name="connsiteY1" fmla="*/ 0 h 3281632"/>
              <a:gd name="connsiteX0" fmla="*/ 16252102 w 17007279"/>
              <a:gd name="connsiteY0" fmla="*/ 3281632 h 3281632"/>
              <a:gd name="connsiteX1" fmla="*/ 17007279 w 17007279"/>
              <a:gd name="connsiteY1" fmla="*/ 0 h 3281632"/>
              <a:gd name="connsiteX0" fmla="*/ 14617757 w 21764201"/>
              <a:gd name="connsiteY0" fmla="*/ 2335564 h 2335564"/>
              <a:gd name="connsiteX1" fmla="*/ 21764201 w 21764201"/>
              <a:gd name="connsiteY1" fmla="*/ 182411 h 2335564"/>
              <a:gd name="connsiteX0" fmla="*/ 10420398 w 17566842"/>
              <a:gd name="connsiteY0" fmla="*/ 2153153 h 2153153"/>
              <a:gd name="connsiteX1" fmla="*/ 17566842 w 17566842"/>
              <a:gd name="connsiteY1" fmla="*/ 0 h 2153153"/>
              <a:gd name="connsiteX0" fmla="*/ 10381697 w 17703244"/>
              <a:gd name="connsiteY0" fmla="*/ 1900626 h 1900626"/>
              <a:gd name="connsiteX1" fmla="*/ 17703244 w 17703244"/>
              <a:gd name="connsiteY1" fmla="*/ 0 h 1900626"/>
              <a:gd name="connsiteX0" fmla="*/ 10227035 w 17548582"/>
              <a:gd name="connsiteY0" fmla="*/ 1900626 h 1900626"/>
              <a:gd name="connsiteX1" fmla="*/ 17548582 w 17548582"/>
              <a:gd name="connsiteY1" fmla="*/ 0 h 1900626"/>
              <a:gd name="connsiteX0" fmla="*/ 9855669 w 18928249"/>
              <a:gd name="connsiteY0" fmla="*/ 1704487 h 1704487"/>
              <a:gd name="connsiteX1" fmla="*/ 18928249 w 18928249"/>
              <a:gd name="connsiteY1" fmla="*/ 16931 h 1704487"/>
              <a:gd name="connsiteX0" fmla="*/ 8755663 w 17828243"/>
              <a:gd name="connsiteY0" fmla="*/ 1687556 h 1687556"/>
              <a:gd name="connsiteX1" fmla="*/ 17828243 w 17828243"/>
              <a:gd name="connsiteY1" fmla="*/ 0 h 1687556"/>
              <a:gd name="connsiteX0" fmla="*/ 8796654 w 17664946"/>
              <a:gd name="connsiteY0" fmla="*/ 1485305 h 1485305"/>
              <a:gd name="connsiteX1" fmla="*/ 17664945 w 17664946"/>
              <a:gd name="connsiteY1" fmla="*/ 10819 h 1485305"/>
              <a:gd name="connsiteX0" fmla="*/ 9359623 w 18227915"/>
              <a:gd name="connsiteY0" fmla="*/ 1488162 h 1488162"/>
              <a:gd name="connsiteX1" fmla="*/ 18227914 w 18227915"/>
              <a:gd name="connsiteY1" fmla="*/ 13676 h 1488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8227915" h="1488162">
                <a:moveTo>
                  <a:pt x="9359623" y="1488162"/>
                </a:moveTo>
                <a:cubicBezTo>
                  <a:pt x="-14222268" y="-391316"/>
                  <a:pt x="13637717" y="65993"/>
                  <a:pt x="18227914" y="13676"/>
                </a:cubicBezTo>
              </a:path>
            </a:pathLst>
          </a:custGeom>
          <a:noFill/>
          <a:ln w="34925" cap="rnd">
            <a:gradFill>
              <a:gsLst>
                <a:gs pos="14000">
                  <a:schemeClr val="accent1"/>
                </a:gs>
                <a:gs pos="61000">
                  <a:schemeClr val="accent1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олилиния 35"/>
          <p:cNvSpPr/>
          <p:nvPr userDrawn="1"/>
        </p:nvSpPr>
        <p:spPr>
          <a:xfrm flipV="1">
            <a:off x="8505042" y="1290984"/>
            <a:ext cx="3747587" cy="1420852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1007721 w 6357644"/>
              <a:gd name="connsiteY0" fmla="*/ 3330054 h 3330054"/>
              <a:gd name="connsiteX1" fmla="*/ 6357644 w 6357644"/>
              <a:gd name="connsiteY1" fmla="*/ 0 h 3330054"/>
              <a:gd name="connsiteX0" fmla="*/ 1124300 w 6474223"/>
              <a:gd name="connsiteY0" fmla="*/ 3330054 h 3330054"/>
              <a:gd name="connsiteX1" fmla="*/ 6474223 w 6474223"/>
              <a:gd name="connsiteY1" fmla="*/ 0 h 3330054"/>
              <a:gd name="connsiteX0" fmla="*/ 1459528 w 6809451"/>
              <a:gd name="connsiteY0" fmla="*/ 3330054 h 3330054"/>
              <a:gd name="connsiteX1" fmla="*/ 6809451 w 6809451"/>
              <a:gd name="connsiteY1" fmla="*/ 0 h 3330054"/>
              <a:gd name="connsiteX0" fmla="*/ 1507944 w 6582331"/>
              <a:gd name="connsiteY0" fmla="*/ 3288968 h 3288968"/>
              <a:gd name="connsiteX1" fmla="*/ 6582331 w 6582331"/>
              <a:gd name="connsiteY1" fmla="*/ 0 h 3288968"/>
              <a:gd name="connsiteX0" fmla="*/ 3118838 w 8193225"/>
              <a:gd name="connsiteY0" fmla="*/ 3288968 h 3288968"/>
              <a:gd name="connsiteX1" fmla="*/ 8193225 w 8193225"/>
              <a:gd name="connsiteY1" fmla="*/ 0 h 3288968"/>
              <a:gd name="connsiteX0" fmla="*/ 4338715 w 5093892"/>
              <a:gd name="connsiteY0" fmla="*/ 3281632 h 3281632"/>
              <a:gd name="connsiteX1" fmla="*/ 5093892 w 5093892"/>
              <a:gd name="connsiteY1" fmla="*/ 0 h 3281632"/>
              <a:gd name="connsiteX0" fmla="*/ 17520832 w 18276009"/>
              <a:gd name="connsiteY0" fmla="*/ 3281632 h 3281632"/>
              <a:gd name="connsiteX1" fmla="*/ 18276009 w 18276009"/>
              <a:gd name="connsiteY1" fmla="*/ 0 h 3281632"/>
              <a:gd name="connsiteX0" fmla="*/ 16252102 w 17007279"/>
              <a:gd name="connsiteY0" fmla="*/ 3281632 h 3281632"/>
              <a:gd name="connsiteX1" fmla="*/ 17007279 w 17007279"/>
              <a:gd name="connsiteY1" fmla="*/ 0 h 3281632"/>
              <a:gd name="connsiteX0" fmla="*/ 14617757 w 21764201"/>
              <a:gd name="connsiteY0" fmla="*/ 2335564 h 2335564"/>
              <a:gd name="connsiteX1" fmla="*/ 21764201 w 21764201"/>
              <a:gd name="connsiteY1" fmla="*/ 182411 h 2335564"/>
              <a:gd name="connsiteX0" fmla="*/ 10420398 w 17566842"/>
              <a:gd name="connsiteY0" fmla="*/ 2153153 h 2153153"/>
              <a:gd name="connsiteX1" fmla="*/ 17566842 w 17566842"/>
              <a:gd name="connsiteY1" fmla="*/ 0 h 2153153"/>
              <a:gd name="connsiteX0" fmla="*/ 10381697 w 17703244"/>
              <a:gd name="connsiteY0" fmla="*/ 1900626 h 1900626"/>
              <a:gd name="connsiteX1" fmla="*/ 17703244 w 17703244"/>
              <a:gd name="connsiteY1" fmla="*/ 0 h 1900626"/>
              <a:gd name="connsiteX0" fmla="*/ 10227035 w 17548582"/>
              <a:gd name="connsiteY0" fmla="*/ 1900626 h 1900626"/>
              <a:gd name="connsiteX1" fmla="*/ 17548582 w 17548582"/>
              <a:gd name="connsiteY1" fmla="*/ 0 h 1900626"/>
              <a:gd name="connsiteX0" fmla="*/ 11708316 w 13105540"/>
              <a:gd name="connsiteY0" fmla="*/ 2192611 h 2192611"/>
              <a:gd name="connsiteX1" fmla="*/ 13105540 w 13105540"/>
              <a:gd name="connsiteY1" fmla="*/ 0 h 2192611"/>
              <a:gd name="connsiteX0" fmla="*/ 15644843 w 17042067"/>
              <a:gd name="connsiteY0" fmla="*/ 2192611 h 2192611"/>
              <a:gd name="connsiteX1" fmla="*/ 17042067 w 17042067"/>
              <a:gd name="connsiteY1" fmla="*/ 0 h 2192611"/>
              <a:gd name="connsiteX0" fmla="*/ 15661058 w 16999911"/>
              <a:gd name="connsiteY0" fmla="*/ 2097913 h 2097913"/>
              <a:gd name="connsiteX1" fmla="*/ 16999911 w 16999911"/>
              <a:gd name="connsiteY1" fmla="*/ 0 h 2097913"/>
              <a:gd name="connsiteX0" fmla="*/ 16102636 w 16102635"/>
              <a:gd name="connsiteY0" fmla="*/ 2074239 h 2074239"/>
              <a:gd name="connsiteX1" fmla="*/ 15894744 w 16102635"/>
              <a:gd name="connsiteY1" fmla="*/ 0 h 2074239"/>
              <a:gd name="connsiteX0" fmla="*/ 18377377 w 18377376"/>
              <a:gd name="connsiteY0" fmla="*/ 2074239 h 2074239"/>
              <a:gd name="connsiteX1" fmla="*/ 18169485 w 18377376"/>
              <a:gd name="connsiteY1" fmla="*/ 0 h 2074239"/>
              <a:gd name="connsiteX0" fmla="*/ 18419553 w 18419552"/>
              <a:gd name="connsiteY0" fmla="*/ 1888387 h 1888387"/>
              <a:gd name="connsiteX1" fmla="*/ 18065743 w 18419552"/>
              <a:gd name="connsiteY1" fmla="*/ 11434 h 1888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8419552" h="1888387">
                <a:moveTo>
                  <a:pt x="18419553" y="1888387"/>
                </a:moveTo>
                <a:cubicBezTo>
                  <a:pt x="-20396323" y="-433016"/>
                  <a:pt x="13475546" y="63751"/>
                  <a:pt x="18065743" y="11434"/>
                </a:cubicBezTo>
              </a:path>
            </a:pathLst>
          </a:custGeom>
          <a:noFill/>
          <a:ln w="47625">
            <a:gradFill>
              <a:gsLst>
                <a:gs pos="56000">
                  <a:schemeClr val="accent3"/>
                </a:gs>
                <a:gs pos="76000">
                  <a:schemeClr val="accent3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олилиния 36"/>
          <p:cNvSpPr/>
          <p:nvPr userDrawn="1"/>
        </p:nvSpPr>
        <p:spPr>
          <a:xfrm flipV="1">
            <a:off x="8512871" y="1884801"/>
            <a:ext cx="3793379" cy="917892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1007721 w 6357644"/>
              <a:gd name="connsiteY0" fmla="*/ 3330054 h 3330054"/>
              <a:gd name="connsiteX1" fmla="*/ 6357644 w 6357644"/>
              <a:gd name="connsiteY1" fmla="*/ 0 h 3330054"/>
              <a:gd name="connsiteX0" fmla="*/ 1124300 w 6474223"/>
              <a:gd name="connsiteY0" fmla="*/ 3330054 h 3330054"/>
              <a:gd name="connsiteX1" fmla="*/ 6474223 w 6474223"/>
              <a:gd name="connsiteY1" fmla="*/ 0 h 3330054"/>
              <a:gd name="connsiteX0" fmla="*/ 1459528 w 6809451"/>
              <a:gd name="connsiteY0" fmla="*/ 3330054 h 3330054"/>
              <a:gd name="connsiteX1" fmla="*/ 6809451 w 6809451"/>
              <a:gd name="connsiteY1" fmla="*/ 0 h 3330054"/>
              <a:gd name="connsiteX0" fmla="*/ 1507944 w 6582331"/>
              <a:gd name="connsiteY0" fmla="*/ 3288968 h 3288968"/>
              <a:gd name="connsiteX1" fmla="*/ 6582331 w 6582331"/>
              <a:gd name="connsiteY1" fmla="*/ 0 h 3288968"/>
              <a:gd name="connsiteX0" fmla="*/ 3118838 w 8193225"/>
              <a:gd name="connsiteY0" fmla="*/ 3288968 h 3288968"/>
              <a:gd name="connsiteX1" fmla="*/ 8193225 w 8193225"/>
              <a:gd name="connsiteY1" fmla="*/ 0 h 3288968"/>
              <a:gd name="connsiteX0" fmla="*/ 4338715 w 5093892"/>
              <a:gd name="connsiteY0" fmla="*/ 3281632 h 3281632"/>
              <a:gd name="connsiteX1" fmla="*/ 5093892 w 5093892"/>
              <a:gd name="connsiteY1" fmla="*/ 0 h 3281632"/>
              <a:gd name="connsiteX0" fmla="*/ 17520832 w 18276009"/>
              <a:gd name="connsiteY0" fmla="*/ 3281632 h 3281632"/>
              <a:gd name="connsiteX1" fmla="*/ 18276009 w 18276009"/>
              <a:gd name="connsiteY1" fmla="*/ 0 h 3281632"/>
              <a:gd name="connsiteX0" fmla="*/ 16252102 w 17007279"/>
              <a:gd name="connsiteY0" fmla="*/ 3281632 h 3281632"/>
              <a:gd name="connsiteX1" fmla="*/ 17007279 w 17007279"/>
              <a:gd name="connsiteY1" fmla="*/ 0 h 3281632"/>
              <a:gd name="connsiteX0" fmla="*/ 14617757 w 21764201"/>
              <a:gd name="connsiteY0" fmla="*/ 2335564 h 2335564"/>
              <a:gd name="connsiteX1" fmla="*/ 21764201 w 21764201"/>
              <a:gd name="connsiteY1" fmla="*/ 182411 h 2335564"/>
              <a:gd name="connsiteX0" fmla="*/ 10420398 w 17566842"/>
              <a:gd name="connsiteY0" fmla="*/ 2153153 h 2153153"/>
              <a:gd name="connsiteX1" fmla="*/ 17566842 w 17566842"/>
              <a:gd name="connsiteY1" fmla="*/ 0 h 2153153"/>
              <a:gd name="connsiteX0" fmla="*/ 10381697 w 17703244"/>
              <a:gd name="connsiteY0" fmla="*/ 1900626 h 1900626"/>
              <a:gd name="connsiteX1" fmla="*/ 17703244 w 17703244"/>
              <a:gd name="connsiteY1" fmla="*/ 0 h 1900626"/>
              <a:gd name="connsiteX0" fmla="*/ 10227035 w 17548582"/>
              <a:gd name="connsiteY0" fmla="*/ 1900626 h 1900626"/>
              <a:gd name="connsiteX1" fmla="*/ 17548582 w 17548582"/>
              <a:gd name="connsiteY1" fmla="*/ 0 h 1900626"/>
              <a:gd name="connsiteX0" fmla="*/ 11708316 w 13105540"/>
              <a:gd name="connsiteY0" fmla="*/ 2192611 h 2192611"/>
              <a:gd name="connsiteX1" fmla="*/ 13105540 w 13105540"/>
              <a:gd name="connsiteY1" fmla="*/ 0 h 2192611"/>
              <a:gd name="connsiteX0" fmla="*/ 15644843 w 17042067"/>
              <a:gd name="connsiteY0" fmla="*/ 2192611 h 2192611"/>
              <a:gd name="connsiteX1" fmla="*/ 17042067 w 17042067"/>
              <a:gd name="connsiteY1" fmla="*/ 0 h 2192611"/>
              <a:gd name="connsiteX0" fmla="*/ 15661058 w 16999911"/>
              <a:gd name="connsiteY0" fmla="*/ 2097913 h 2097913"/>
              <a:gd name="connsiteX1" fmla="*/ 16999911 w 16999911"/>
              <a:gd name="connsiteY1" fmla="*/ 0 h 2097913"/>
              <a:gd name="connsiteX0" fmla="*/ 16102636 w 16102635"/>
              <a:gd name="connsiteY0" fmla="*/ 2074239 h 2074239"/>
              <a:gd name="connsiteX1" fmla="*/ 15894744 w 16102635"/>
              <a:gd name="connsiteY1" fmla="*/ 0 h 2074239"/>
              <a:gd name="connsiteX0" fmla="*/ 18377377 w 18377376"/>
              <a:gd name="connsiteY0" fmla="*/ 2074239 h 2074239"/>
              <a:gd name="connsiteX1" fmla="*/ 18169485 w 18377376"/>
              <a:gd name="connsiteY1" fmla="*/ 0 h 2074239"/>
              <a:gd name="connsiteX0" fmla="*/ 18419553 w 18419552"/>
              <a:gd name="connsiteY0" fmla="*/ 1888387 h 1888387"/>
              <a:gd name="connsiteX1" fmla="*/ 18065743 w 18419552"/>
              <a:gd name="connsiteY1" fmla="*/ 11434 h 1888387"/>
              <a:gd name="connsiteX0" fmla="*/ 16278319 w 24241912"/>
              <a:gd name="connsiteY0" fmla="*/ 1458065 h 1458065"/>
              <a:gd name="connsiteX1" fmla="*/ 24241913 w 24241912"/>
              <a:gd name="connsiteY1" fmla="*/ 243996 h 1458065"/>
              <a:gd name="connsiteX0" fmla="*/ 10681029 w 18644622"/>
              <a:gd name="connsiteY0" fmla="*/ 1219927 h 1219927"/>
              <a:gd name="connsiteX1" fmla="*/ 18644623 w 18644622"/>
              <a:gd name="connsiteY1" fmla="*/ 5858 h 1219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8644622" h="1219927">
                <a:moveTo>
                  <a:pt x="10681029" y="1219927"/>
                </a:moveTo>
                <a:cubicBezTo>
                  <a:pt x="-15472295" y="-320222"/>
                  <a:pt x="14054426" y="58175"/>
                  <a:pt x="18644623" y="5858"/>
                </a:cubicBezTo>
              </a:path>
            </a:pathLst>
          </a:custGeom>
          <a:noFill/>
          <a:ln w="53975" cap="rnd">
            <a:gradFill>
              <a:gsLst>
                <a:gs pos="54000">
                  <a:schemeClr val="accent1"/>
                </a:gs>
                <a:gs pos="74000">
                  <a:schemeClr val="accent1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олилиния 37"/>
          <p:cNvSpPr/>
          <p:nvPr userDrawn="1"/>
        </p:nvSpPr>
        <p:spPr>
          <a:xfrm flipV="1">
            <a:off x="8548147" y="2026181"/>
            <a:ext cx="3543538" cy="824465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1007721 w 6357644"/>
              <a:gd name="connsiteY0" fmla="*/ 3330054 h 3330054"/>
              <a:gd name="connsiteX1" fmla="*/ 6357644 w 6357644"/>
              <a:gd name="connsiteY1" fmla="*/ 0 h 3330054"/>
              <a:gd name="connsiteX0" fmla="*/ 1124300 w 6474223"/>
              <a:gd name="connsiteY0" fmla="*/ 3330054 h 3330054"/>
              <a:gd name="connsiteX1" fmla="*/ 6474223 w 6474223"/>
              <a:gd name="connsiteY1" fmla="*/ 0 h 3330054"/>
              <a:gd name="connsiteX0" fmla="*/ 1459528 w 6809451"/>
              <a:gd name="connsiteY0" fmla="*/ 3330054 h 3330054"/>
              <a:gd name="connsiteX1" fmla="*/ 6809451 w 6809451"/>
              <a:gd name="connsiteY1" fmla="*/ 0 h 3330054"/>
              <a:gd name="connsiteX0" fmla="*/ 1507944 w 6582331"/>
              <a:gd name="connsiteY0" fmla="*/ 3288968 h 3288968"/>
              <a:gd name="connsiteX1" fmla="*/ 6582331 w 6582331"/>
              <a:gd name="connsiteY1" fmla="*/ 0 h 3288968"/>
              <a:gd name="connsiteX0" fmla="*/ 3118838 w 8193225"/>
              <a:gd name="connsiteY0" fmla="*/ 3288968 h 3288968"/>
              <a:gd name="connsiteX1" fmla="*/ 8193225 w 8193225"/>
              <a:gd name="connsiteY1" fmla="*/ 0 h 3288968"/>
              <a:gd name="connsiteX0" fmla="*/ 4338715 w 5093892"/>
              <a:gd name="connsiteY0" fmla="*/ 3281632 h 3281632"/>
              <a:gd name="connsiteX1" fmla="*/ 5093892 w 5093892"/>
              <a:gd name="connsiteY1" fmla="*/ 0 h 3281632"/>
              <a:gd name="connsiteX0" fmla="*/ 17520832 w 18276009"/>
              <a:gd name="connsiteY0" fmla="*/ 3281632 h 3281632"/>
              <a:gd name="connsiteX1" fmla="*/ 18276009 w 18276009"/>
              <a:gd name="connsiteY1" fmla="*/ 0 h 3281632"/>
              <a:gd name="connsiteX0" fmla="*/ 16252102 w 17007279"/>
              <a:gd name="connsiteY0" fmla="*/ 3281632 h 3281632"/>
              <a:gd name="connsiteX1" fmla="*/ 17007279 w 17007279"/>
              <a:gd name="connsiteY1" fmla="*/ 0 h 3281632"/>
              <a:gd name="connsiteX0" fmla="*/ 14617757 w 21764201"/>
              <a:gd name="connsiteY0" fmla="*/ 2335564 h 2335564"/>
              <a:gd name="connsiteX1" fmla="*/ 21764201 w 21764201"/>
              <a:gd name="connsiteY1" fmla="*/ 182411 h 2335564"/>
              <a:gd name="connsiteX0" fmla="*/ 10420398 w 17566842"/>
              <a:gd name="connsiteY0" fmla="*/ 2153153 h 2153153"/>
              <a:gd name="connsiteX1" fmla="*/ 17566842 w 17566842"/>
              <a:gd name="connsiteY1" fmla="*/ 0 h 2153153"/>
              <a:gd name="connsiteX0" fmla="*/ 10381697 w 17703244"/>
              <a:gd name="connsiteY0" fmla="*/ 1900626 h 1900626"/>
              <a:gd name="connsiteX1" fmla="*/ 17703244 w 17703244"/>
              <a:gd name="connsiteY1" fmla="*/ 0 h 1900626"/>
              <a:gd name="connsiteX0" fmla="*/ 10227035 w 17548582"/>
              <a:gd name="connsiteY0" fmla="*/ 1900626 h 1900626"/>
              <a:gd name="connsiteX1" fmla="*/ 17548582 w 17548582"/>
              <a:gd name="connsiteY1" fmla="*/ 0 h 1900626"/>
              <a:gd name="connsiteX0" fmla="*/ 11708316 w 13105540"/>
              <a:gd name="connsiteY0" fmla="*/ 2192611 h 2192611"/>
              <a:gd name="connsiteX1" fmla="*/ 13105540 w 13105540"/>
              <a:gd name="connsiteY1" fmla="*/ 0 h 2192611"/>
              <a:gd name="connsiteX0" fmla="*/ 15644843 w 17042067"/>
              <a:gd name="connsiteY0" fmla="*/ 2192611 h 2192611"/>
              <a:gd name="connsiteX1" fmla="*/ 17042067 w 17042067"/>
              <a:gd name="connsiteY1" fmla="*/ 0 h 2192611"/>
              <a:gd name="connsiteX0" fmla="*/ 15661058 w 16999911"/>
              <a:gd name="connsiteY0" fmla="*/ 2097913 h 2097913"/>
              <a:gd name="connsiteX1" fmla="*/ 16999911 w 16999911"/>
              <a:gd name="connsiteY1" fmla="*/ 0 h 2097913"/>
              <a:gd name="connsiteX0" fmla="*/ 16102636 w 16102635"/>
              <a:gd name="connsiteY0" fmla="*/ 2074239 h 2074239"/>
              <a:gd name="connsiteX1" fmla="*/ 15894744 w 16102635"/>
              <a:gd name="connsiteY1" fmla="*/ 0 h 2074239"/>
              <a:gd name="connsiteX0" fmla="*/ 18377377 w 18377376"/>
              <a:gd name="connsiteY0" fmla="*/ 2074239 h 2074239"/>
              <a:gd name="connsiteX1" fmla="*/ 18169485 w 18377376"/>
              <a:gd name="connsiteY1" fmla="*/ 0 h 2074239"/>
              <a:gd name="connsiteX0" fmla="*/ 18419553 w 18419552"/>
              <a:gd name="connsiteY0" fmla="*/ 1888387 h 1888387"/>
              <a:gd name="connsiteX1" fmla="*/ 18065743 w 18419552"/>
              <a:gd name="connsiteY1" fmla="*/ 11434 h 1888387"/>
              <a:gd name="connsiteX0" fmla="*/ 16278319 w 24241912"/>
              <a:gd name="connsiteY0" fmla="*/ 1458065 h 1458065"/>
              <a:gd name="connsiteX1" fmla="*/ 24241913 w 24241912"/>
              <a:gd name="connsiteY1" fmla="*/ 243996 h 1458065"/>
              <a:gd name="connsiteX0" fmla="*/ 10681029 w 18644622"/>
              <a:gd name="connsiteY0" fmla="*/ 1219927 h 1219927"/>
              <a:gd name="connsiteX1" fmla="*/ 18644623 w 18644622"/>
              <a:gd name="connsiteY1" fmla="*/ 5858 h 1219927"/>
              <a:gd name="connsiteX0" fmla="*/ 10970132 w 17629277"/>
              <a:gd name="connsiteY0" fmla="*/ 1095178 h 1095178"/>
              <a:gd name="connsiteX1" fmla="*/ 17629278 w 17629277"/>
              <a:gd name="connsiteY1" fmla="*/ 54721 h 1095178"/>
              <a:gd name="connsiteX0" fmla="*/ 13821489 w 20480634"/>
              <a:gd name="connsiteY0" fmla="*/ 1064363 h 1064363"/>
              <a:gd name="connsiteX1" fmla="*/ 20480635 w 20480634"/>
              <a:gd name="connsiteY1" fmla="*/ 23906 h 1064363"/>
              <a:gd name="connsiteX0" fmla="*/ 14110589 w 20769734"/>
              <a:gd name="connsiteY0" fmla="*/ 1118271 h 1118271"/>
              <a:gd name="connsiteX1" fmla="*/ 20769735 w 20769734"/>
              <a:gd name="connsiteY1" fmla="*/ 77814 h 1118271"/>
              <a:gd name="connsiteX0" fmla="*/ 15848432 w 15848693"/>
              <a:gd name="connsiteY0" fmla="*/ 1143013 h 1143013"/>
              <a:gd name="connsiteX1" fmla="*/ 15848694 w 15848693"/>
              <a:gd name="connsiteY1" fmla="*/ 63098 h 1143013"/>
              <a:gd name="connsiteX0" fmla="*/ 13846283 w 13846544"/>
              <a:gd name="connsiteY0" fmla="*/ 1095758 h 1095758"/>
              <a:gd name="connsiteX1" fmla="*/ 13846545 w 13846544"/>
              <a:gd name="connsiteY1" fmla="*/ 15843 h 1095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846544" h="1095758">
                <a:moveTo>
                  <a:pt x="13846283" y="1095758"/>
                </a:moveTo>
                <a:cubicBezTo>
                  <a:pt x="-14872122" y="-340048"/>
                  <a:pt x="9256348" y="68160"/>
                  <a:pt x="13846545" y="15843"/>
                </a:cubicBezTo>
              </a:path>
            </a:pathLst>
          </a:custGeom>
          <a:noFill/>
          <a:ln w="47625" cap="rnd">
            <a:gradFill>
              <a:gsLst>
                <a:gs pos="65000">
                  <a:schemeClr val="accent2"/>
                </a:gs>
                <a:gs pos="71000">
                  <a:schemeClr val="accent2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олилиния 38"/>
          <p:cNvSpPr/>
          <p:nvPr userDrawn="1"/>
        </p:nvSpPr>
        <p:spPr>
          <a:xfrm flipV="1">
            <a:off x="8562334" y="2217170"/>
            <a:ext cx="3700870" cy="717541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1007721 w 6357644"/>
              <a:gd name="connsiteY0" fmla="*/ 3330054 h 3330054"/>
              <a:gd name="connsiteX1" fmla="*/ 6357644 w 6357644"/>
              <a:gd name="connsiteY1" fmla="*/ 0 h 3330054"/>
              <a:gd name="connsiteX0" fmla="*/ 1124300 w 6474223"/>
              <a:gd name="connsiteY0" fmla="*/ 3330054 h 3330054"/>
              <a:gd name="connsiteX1" fmla="*/ 6474223 w 6474223"/>
              <a:gd name="connsiteY1" fmla="*/ 0 h 3330054"/>
              <a:gd name="connsiteX0" fmla="*/ 1459528 w 6809451"/>
              <a:gd name="connsiteY0" fmla="*/ 3330054 h 3330054"/>
              <a:gd name="connsiteX1" fmla="*/ 6809451 w 6809451"/>
              <a:gd name="connsiteY1" fmla="*/ 0 h 3330054"/>
              <a:gd name="connsiteX0" fmla="*/ 1507944 w 6582331"/>
              <a:gd name="connsiteY0" fmla="*/ 3288968 h 3288968"/>
              <a:gd name="connsiteX1" fmla="*/ 6582331 w 6582331"/>
              <a:gd name="connsiteY1" fmla="*/ 0 h 3288968"/>
              <a:gd name="connsiteX0" fmla="*/ 3118838 w 8193225"/>
              <a:gd name="connsiteY0" fmla="*/ 3288968 h 3288968"/>
              <a:gd name="connsiteX1" fmla="*/ 8193225 w 8193225"/>
              <a:gd name="connsiteY1" fmla="*/ 0 h 3288968"/>
              <a:gd name="connsiteX0" fmla="*/ 4338715 w 5093892"/>
              <a:gd name="connsiteY0" fmla="*/ 3281632 h 3281632"/>
              <a:gd name="connsiteX1" fmla="*/ 5093892 w 5093892"/>
              <a:gd name="connsiteY1" fmla="*/ 0 h 3281632"/>
              <a:gd name="connsiteX0" fmla="*/ 17520832 w 18276009"/>
              <a:gd name="connsiteY0" fmla="*/ 3281632 h 3281632"/>
              <a:gd name="connsiteX1" fmla="*/ 18276009 w 18276009"/>
              <a:gd name="connsiteY1" fmla="*/ 0 h 3281632"/>
              <a:gd name="connsiteX0" fmla="*/ 16252102 w 17007279"/>
              <a:gd name="connsiteY0" fmla="*/ 3281632 h 3281632"/>
              <a:gd name="connsiteX1" fmla="*/ 17007279 w 17007279"/>
              <a:gd name="connsiteY1" fmla="*/ 0 h 3281632"/>
              <a:gd name="connsiteX0" fmla="*/ 14617757 w 21764201"/>
              <a:gd name="connsiteY0" fmla="*/ 2335564 h 2335564"/>
              <a:gd name="connsiteX1" fmla="*/ 21764201 w 21764201"/>
              <a:gd name="connsiteY1" fmla="*/ 182411 h 2335564"/>
              <a:gd name="connsiteX0" fmla="*/ 10420398 w 17566842"/>
              <a:gd name="connsiteY0" fmla="*/ 2153153 h 2153153"/>
              <a:gd name="connsiteX1" fmla="*/ 17566842 w 17566842"/>
              <a:gd name="connsiteY1" fmla="*/ 0 h 2153153"/>
              <a:gd name="connsiteX0" fmla="*/ 10381697 w 17703244"/>
              <a:gd name="connsiteY0" fmla="*/ 1900626 h 1900626"/>
              <a:gd name="connsiteX1" fmla="*/ 17703244 w 17703244"/>
              <a:gd name="connsiteY1" fmla="*/ 0 h 1900626"/>
              <a:gd name="connsiteX0" fmla="*/ 10227035 w 17548582"/>
              <a:gd name="connsiteY0" fmla="*/ 1900626 h 1900626"/>
              <a:gd name="connsiteX1" fmla="*/ 17548582 w 17548582"/>
              <a:gd name="connsiteY1" fmla="*/ 0 h 1900626"/>
              <a:gd name="connsiteX0" fmla="*/ 11708316 w 13105540"/>
              <a:gd name="connsiteY0" fmla="*/ 2192611 h 2192611"/>
              <a:gd name="connsiteX1" fmla="*/ 13105540 w 13105540"/>
              <a:gd name="connsiteY1" fmla="*/ 0 h 2192611"/>
              <a:gd name="connsiteX0" fmla="*/ 15644843 w 17042067"/>
              <a:gd name="connsiteY0" fmla="*/ 2192611 h 2192611"/>
              <a:gd name="connsiteX1" fmla="*/ 17042067 w 17042067"/>
              <a:gd name="connsiteY1" fmla="*/ 0 h 2192611"/>
              <a:gd name="connsiteX0" fmla="*/ 15661058 w 16999911"/>
              <a:gd name="connsiteY0" fmla="*/ 2097913 h 2097913"/>
              <a:gd name="connsiteX1" fmla="*/ 16999911 w 16999911"/>
              <a:gd name="connsiteY1" fmla="*/ 0 h 2097913"/>
              <a:gd name="connsiteX0" fmla="*/ 16102636 w 16102635"/>
              <a:gd name="connsiteY0" fmla="*/ 2074239 h 2074239"/>
              <a:gd name="connsiteX1" fmla="*/ 15894744 w 16102635"/>
              <a:gd name="connsiteY1" fmla="*/ 0 h 2074239"/>
              <a:gd name="connsiteX0" fmla="*/ 18377377 w 18377376"/>
              <a:gd name="connsiteY0" fmla="*/ 2074239 h 2074239"/>
              <a:gd name="connsiteX1" fmla="*/ 18169485 w 18377376"/>
              <a:gd name="connsiteY1" fmla="*/ 0 h 2074239"/>
              <a:gd name="connsiteX0" fmla="*/ 18419553 w 18419552"/>
              <a:gd name="connsiteY0" fmla="*/ 1888387 h 1888387"/>
              <a:gd name="connsiteX1" fmla="*/ 18065743 w 18419552"/>
              <a:gd name="connsiteY1" fmla="*/ 11434 h 1888387"/>
              <a:gd name="connsiteX0" fmla="*/ 16278319 w 24241912"/>
              <a:gd name="connsiteY0" fmla="*/ 1458065 h 1458065"/>
              <a:gd name="connsiteX1" fmla="*/ 24241913 w 24241912"/>
              <a:gd name="connsiteY1" fmla="*/ 243996 h 1458065"/>
              <a:gd name="connsiteX0" fmla="*/ 10681029 w 18644622"/>
              <a:gd name="connsiteY0" fmla="*/ 1219927 h 1219927"/>
              <a:gd name="connsiteX1" fmla="*/ 18644623 w 18644622"/>
              <a:gd name="connsiteY1" fmla="*/ 5858 h 1219927"/>
              <a:gd name="connsiteX0" fmla="*/ 10970132 w 17629277"/>
              <a:gd name="connsiteY0" fmla="*/ 1095178 h 1095178"/>
              <a:gd name="connsiteX1" fmla="*/ 17629278 w 17629277"/>
              <a:gd name="connsiteY1" fmla="*/ 54721 h 1095178"/>
              <a:gd name="connsiteX0" fmla="*/ 13821489 w 20480634"/>
              <a:gd name="connsiteY0" fmla="*/ 1064363 h 1064363"/>
              <a:gd name="connsiteX1" fmla="*/ 20480635 w 20480634"/>
              <a:gd name="connsiteY1" fmla="*/ 23906 h 1064363"/>
              <a:gd name="connsiteX0" fmla="*/ 14110589 w 20769734"/>
              <a:gd name="connsiteY0" fmla="*/ 1118271 h 1118271"/>
              <a:gd name="connsiteX1" fmla="*/ 20769735 w 20769734"/>
              <a:gd name="connsiteY1" fmla="*/ 77814 h 1118271"/>
              <a:gd name="connsiteX0" fmla="*/ 14399712 w 21058857"/>
              <a:gd name="connsiteY0" fmla="*/ 1040458 h 1040458"/>
              <a:gd name="connsiteX1" fmla="*/ 21058858 w 21058857"/>
              <a:gd name="connsiteY1" fmla="*/ 1 h 1040458"/>
              <a:gd name="connsiteX0" fmla="*/ 16347472 w 16347472"/>
              <a:gd name="connsiteY0" fmla="*/ 963293 h 963293"/>
              <a:gd name="connsiteX1" fmla="*/ 15633637 w 16347472"/>
              <a:gd name="connsiteY1" fmla="*/ 9643 h 963293"/>
              <a:gd name="connsiteX0" fmla="*/ 15894388 w 15894388"/>
              <a:gd name="connsiteY0" fmla="*/ 959008 h 959008"/>
              <a:gd name="connsiteX1" fmla="*/ 15180553 w 15894388"/>
              <a:gd name="connsiteY1" fmla="*/ 5358 h 959008"/>
              <a:gd name="connsiteX0" fmla="*/ 14461326 w 14461326"/>
              <a:gd name="connsiteY0" fmla="*/ 953651 h 953651"/>
              <a:gd name="connsiteX1" fmla="*/ 13747491 w 14461326"/>
              <a:gd name="connsiteY1" fmla="*/ 1 h 953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461326" h="953651">
                <a:moveTo>
                  <a:pt x="14461326" y="953651"/>
                </a:moveTo>
                <a:cubicBezTo>
                  <a:pt x="-16200865" y="-239274"/>
                  <a:pt x="11000544" y="61963"/>
                  <a:pt x="13747491" y="1"/>
                </a:cubicBezTo>
              </a:path>
            </a:pathLst>
          </a:custGeom>
          <a:noFill/>
          <a:ln w="47625">
            <a:gradFill>
              <a:gsLst>
                <a:gs pos="56000">
                  <a:schemeClr val="accent3"/>
                </a:gs>
                <a:gs pos="69000">
                  <a:schemeClr val="accent3">
                    <a:lumMod val="20000"/>
                    <a:lumOff val="80000"/>
                    <a:alpha val="0"/>
                  </a:scheme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олилиния 39"/>
          <p:cNvSpPr/>
          <p:nvPr userDrawn="1"/>
        </p:nvSpPr>
        <p:spPr>
          <a:xfrm>
            <a:off x="5838628" y="3563350"/>
            <a:ext cx="5458781" cy="2502740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5 w 5349928"/>
              <a:gd name="connsiteY0" fmla="*/ 3330054 h 3330054"/>
              <a:gd name="connsiteX1" fmla="*/ 5349928 w 5349928"/>
              <a:gd name="connsiteY1" fmla="*/ 0 h 3330054"/>
              <a:gd name="connsiteX0" fmla="*/ 9 w 5349932"/>
              <a:gd name="connsiteY0" fmla="*/ 3330054 h 3330054"/>
              <a:gd name="connsiteX1" fmla="*/ 5349932 w 5349932"/>
              <a:gd name="connsiteY1" fmla="*/ 0 h 3330054"/>
              <a:gd name="connsiteX0" fmla="*/ 6 w 5349929"/>
              <a:gd name="connsiteY0" fmla="*/ 3330054 h 3330054"/>
              <a:gd name="connsiteX1" fmla="*/ 5349929 w 5349929"/>
              <a:gd name="connsiteY1" fmla="*/ 0 h 3330054"/>
              <a:gd name="connsiteX0" fmla="*/ 12 w 5045135"/>
              <a:gd name="connsiteY0" fmla="*/ 2357597 h 2357597"/>
              <a:gd name="connsiteX1" fmla="*/ 5045135 w 5045135"/>
              <a:gd name="connsiteY1" fmla="*/ 0 h 2357597"/>
              <a:gd name="connsiteX0" fmla="*/ 0 w 5045123"/>
              <a:gd name="connsiteY0" fmla="*/ 2357597 h 2357597"/>
              <a:gd name="connsiteX1" fmla="*/ 5045123 w 5045123"/>
              <a:gd name="connsiteY1" fmla="*/ 0 h 2357597"/>
              <a:gd name="connsiteX0" fmla="*/ 0 w 5328152"/>
              <a:gd name="connsiteY0" fmla="*/ 2255997 h 2255997"/>
              <a:gd name="connsiteX1" fmla="*/ 5328152 w 5328152"/>
              <a:gd name="connsiteY1" fmla="*/ 0 h 2255997"/>
              <a:gd name="connsiteX0" fmla="*/ 0 w 5328152"/>
              <a:gd name="connsiteY0" fmla="*/ 2255997 h 2255997"/>
              <a:gd name="connsiteX1" fmla="*/ 5328152 w 5328152"/>
              <a:gd name="connsiteY1" fmla="*/ 0 h 2255997"/>
              <a:gd name="connsiteX0" fmla="*/ 0 w 5328152"/>
              <a:gd name="connsiteY0" fmla="*/ 2255997 h 2255997"/>
              <a:gd name="connsiteX1" fmla="*/ 5328152 w 5328152"/>
              <a:gd name="connsiteY1" fmla="*/ 0 h 2255997"/>
              <a:gd name="connsiteX0" fmla="*/ 0 w 5328152"/>
              <a:gd name="connsiteY0" fmla="*/ 2255997 h 2255997"/>
              <a:gd name="connsiteX1" fmla="*/ 5328152 w 5328152"/>
              <a:gd name="connsiteY1" fmla="*/ 0 h 2255997"/>
              <a:gd name="connsiteX0" fmla="*/ 0 w 5458781"/>
              <a:gd name="connsiteY0" fmla="*/ 2502740 h 2502740"/>
              <a:gd name="connsiteX1" fmla="*/ 5458781 w 5458781"/>
              <a:gd name="connsiteY1" fmla="*/ 0 h 2502740"/>
              <a:gd name="connsiteX0" fmla="*/ 0 w 5458781"/>
              <a:gd name="connsiteY0" fmla="*/ 2502740 h 2502740"/>
              <a:gd name="connsiteX1" fmla="*/ 5458781 w 5458781"/>
              <a:gd name="connsiteY1" fmla="*/ 0 h 2502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458781" h="2502740">
                <a:moveTo>
                  <a:pt x="0" y="2502740"/>
                </a:moveTo>
                <a:cubicBezTo>
                  <a:pt x="404126" y="1197428"/>
                  <a:pt x="1688750" y="17331"/>
                  <a:pt x="5458781" y="0"/>
                </a:cubicBezTo>
              </a:path>
            </a:pathLst>
          </a:custGeom>
          <a:noFill/>
          <a:ln w="19050" cap="rnd">
            <a:gradFill>
              <a:gsLst>
                <a:gs pos="26000">
                  <a:schemeClr val="accent4"/>
                </a:gs>
                <a:gs pos="46000">
                  <a:schemeClr val="accent4">
                    <a:lumMod val="35000"/>
                    <a:lumOff val="65000"/>
                    <a:alpha val="0"/>
                  </a:schemeClr>
                </a:gs>
              </a:gsLst>
              <a:lin ang="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олилиния 45"/>
          <p:cNvSpPr/>
          <p:nvPr userDrawn="1"/>
        </p:nvSpPr>
        <p:spPr>
          <a:xfrm>
            <a:off x="4813651" y="3511844"/>
            <a:ext cx="5335408" cy="2983301"/>
          </a:xfrm>
          <a:custGeom>
            <a:avLst/>
            <a:gdLst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3657600"/>
              <a:gd name="connsiteY0" fmla="*/ 3166280 h 3166280"/>
              <a:gd name="connsiteX1" fmla="*/ 3657600 w 3657600"/>
              <a:gd name="connsiteY1" fmla="*/ 0 h 3166280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349923"/>
              <a:gd name="connsiteY0" fmla="*/ 3330054 h 3330054"/>
              <a:gd name="connsiteX1" fmla="*/ 5349923 w 5349923"/>
              <a:gd name="connsiteY1" fmla="*/ 0 h 3330054"/>
              <a:gd name="connsiteX0" fmla="*/ 0 w 5277351"/>
              <a:gd name="connsiteY0" fmla="*/ 3111608 h 3111608"/>
              <a:gd name="connsiteX1" fmla="*/ 5277351 w 5277351"/>
              <a:gd name="connsiteY1" fmla="*/ 0 h 3111608"/>
              <a:gd name="connsiteX0" fmla="*/ 0 w 5277351"/>
              <a:gd name="connsiteY0" fmla="*/ 3111608 h 3111608"/>
              <a:gd name="connsiteX1" fmla="*/ 5277351 w 5277351"/>
              <a:gd name="connsiteY1" fmla="*/ 0 h 3111608"/>
              <a:gd name="connsiteX0" fmla="*/ 0 w 5335408"/>
              <a:gd name="connsiteY0" fmla="*/ 3096542 h 3096542"/>
              <a:gd name="connsiteX1" fmla="*/ 5335408 w 5335408"/>
              <a:gd name="connsiteY1" fmla="*/ 0 h 3096542"/>
              <a:gd name="connsiteX0" fmla="*/ 0 w 5335408"/>
              <a:gd name="connsiteY0" fmla="*/ 3096542 h 3096542"/>
              <a:gd name="connsiteX1" fmla="*/ 5335408 w 5335408"/>
              <a:gd name="connsiteY1" fmla="*/ 0 h 3096542"/>
              <a:gd name="connsiteX0" fmla="*/ 0 w 5335408"/>
              <a:gd name="connsiteY0" fmla="*/ 3096542 h 3096542"/>
              <a:gd name="connsiteX1" fmla="*/ 5335408 w 5335408"/>
              <a:gd name="connsiteY1" fmla="*/ 0 h 3096542"/>
              <a:gd name="connsiteX0" fmla="*/ 5414 w 5340822"/>
              <a:gd name="connsiteY0" fmla="*/ 3096542 h 3096542"/>
              <a:gd name="connsiteX1" fmla="*/ 5340822 w 5340822"/>
              <a:gd name="connsiteY1" fmla="*/ 0 h 3096542"/>
              <a:gd name="connsiteX0" fmla="*/ 0 w 5335408"/>
              <a:gd name="connsiteY0" fmla="*/ 3096542 h 3096542"/>
              <a:gd name="connsiteX1" fmla="*/ 5335408 w 5335408"/>
              <a:gd name="connsiteY1" fmla="*/ 0 h 3096542"/>
              <a:gd name="connsiteX0" fmla="*/ 0 w 5335408"/>
              <a:gd name="connsiteY0" fmla="*/ 3096542 h 3096542"/>
              <a:gd name="connsiteX1" fmla="*/ 5335408 w 5335408"/>
              <a:gd name="connsiteY1" fmla="*/ 0 h 3096542"/>
              <a:gd name="connsiteX0" fmla="*/ 0 w 5335408"/>
              <a:gd name="connsiteY0" fmla="*/ 3096542 h 3096542"/>
              <a:gd name="connsiteX1" fmla="*/ 5335408 w 5335408"/>
              <a:gd name="connsiteY1" fmla="*/ 0 h 3096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335408" h="3096542">
                <a:moveTo>
                  <a:pt x="0" y="3096542"/>
                </a:moveTo>
                <a:cubicBezTo>
                  <a:pt x="126190" y="2258408"/>
                  <a:pt x="948411" y="67382"/>
                  <a:pt x="5335408" y="0"/>
                </a:cubicBezTo>
              </a:path>
            </a:pathLst>
          </a:custGeom>
          <a:noFill/>
          <a:ln w="25400" cap="rnd">
            <a:gradFill>
              <a:gsLst>
                <a:gs pos="66000">
                  <a:schemeClr val="accent3"/>
                </a:gs>
                <a:gs pos="96000">
                  <a:srgbClr val="C4E5F7">
                    <a:alpha val="0"/>
                  </a:srgbClr>
                </a:gs>
              </a:gsLst>
              <a:lin ang="162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4" name="Рисунок 5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612" y="242457"/>
            <a:ext cx="2221554" cy="819230"/>
          </a:xfrm>
          <a:prstGeom prst="rect">
            <a:avLst/>
          </a:prstGeom>
        </p:spPr>
      </p:pic>
      <p:sp>
        <p:nvSpPr>
          <p:cNvPr id="56" name="Текст 55"/>
          <p:cNvSpPr>
            <a:spLocks noGrp="1"/>
          </p:cNvSpPr>
          <p:nvPr>
            <p:ph type="body" sz="quarter" idx="10" hasCustomPrompt="1"/>
          </p:nvPr>
        </p:nvSpPr>
        <p:spPr>
          <a:xfrm>
            <a:off x="355310" y="1873936"/>
            <a:ext cx="7532231" cy="75723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600"/>
              </a:spcBef>
              <a:defRPr sz="6600" b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ИЗ ДВУХ СТРОК</a:t>
            </a:r>
            <a:endParaRPr lang="ru-RU" dirty="0"/>
          </a:p>
        </p:txBody>
      </p:sp>
      <p:sp>
        <p:nvSpPr>
          <p:cNvPr id="57" name="Текст 55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383479" y="5556774"/>
            <a:ext cx="4591403" cy="3600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spcBef>
                <a:spcPts val="600"/>
              </a:spcBef>
              <a:defRPr sz="1200" b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ФИО</a:t>
            </a:r>
            <a:endParaRPr lang="ru-RU" dirty="0"/>
          </a:p>
        </p:txBody>
      </p:sp>
      <p:sp>
        <p:nvSpPr>
          <p:cNvPr id="58" name="Текст 55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356710" y="4143243"/>
            <a:ext cx="5754724" cy="599818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600"/>
              </a:spcBef>
              <a:defRPr sz="4000" b="0">
                <a:solidFill>
                  <a:schemeClr val="accent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59" name="Текст 55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89617" y="6160790"/>
            <a:ext cx="4578151" cy="3600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spcBef>
                <a:spcPts val="600"/>
              </a:spcBef>
              <a:defRPr sz="1200" b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КОМПАН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1012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5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45" name="Овал 144"/>
          <p:cNvSpPr/>
          <p:nvPr userDrawn="1"/>
        </p:nvSpPr>
        <p:spPr>
          <a:xfrm>
            <a:off x="9145333" y="1547878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bg1">
                  <a:alpha val="0"/>
                </a:schemeClr>
              </a:gs>
              <a:gs pos="18000">
                <a:schemeClr val="accent3">
                  <a:alpha val="3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0" y="0"/>
            <a:ext cx="12200254" cy="267335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44" name="Овал 143"/>
          <p:cNvSpPr/>
          <p:nvPr userDrawn="1"/>
        </p:nvSpPr>
        <p:spPr>
          <a:xfrm>
            <a:off x="3484908" y="4874123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2000">
                <a:schemeClr val="accent2">
                  <a:alpha val="44000"/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146" name="Группа 145"/>
          <p:cNvGrpSpPr/>
          <p:nvPr userDrawn="1"/>
        </p:nvGrpSpPr>
        <p:grpSpPr>
          <a:xfrm rot="491821">
            <a:off x="3180399" y="2401967"/>
            <a:ext cx="10443197" cy="11331297"/>
            <a:chOff x="2813241" y="-467920"/>
            <a:chExt cx="9768289" cy="10598994"/>
          </a:xfrm>
        </p:grpSpPr>
        <p:sp>
          <p:nvSpPr>
            <p:cNvPr id="147" name="Овал 138"/>
            <p:cNvSpPr>
              <a:spLocks noChangeAspect="1"/>
            </p:cNvSpPr>
            <p:nvPr/>
          </p:nvSpPr>
          <p:spPr>
            <a:xfrm rot="3680293">
              <a:off x="6202859" y="-527438"/>
              <a:ext cx="2989055" cy="310809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48" name="Овал 138"/>
            <p:cNvSpPr>
              <a:spLocks noChangeAspect="1"/>
            </p:cNvSpPr>
            <p:nvPr/>
          </p:nvSpPr>
          <p:spPr>
            <a:xfrm rot="3680293">
              <a:off x="6050355" y="-476138"/>
              <a:ext cx="3294062" cy="342524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49" name="Овал 138"/>
            <p:cNvSpPr>
              <a:spLocks noChangeAspect="1"/>
            </p:cNvSpPr>
            <p:nvPr/>
          </p:nvSpPr>
          <p:spPr>
            <a:xfrm rot="3680293">
              <a:off x="5897852" y="-424838"/>
              <a:ext cx="3599069" cy="374239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0" name="Овал 138"/>
            <p:cNvSpPr>
              <a:spLocks noChangeAspect="1"/>
            </p:cNvSpPr>
            <p:nvPr/>
          </p:nvSpPr>
          <p:spPr>
            <a:xfrm rot="3680293">
              <a:off x="5745349" y="-373540"/>
              <a:ext cx="3904074" cy="405955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1" name="Овал 138"/>
            <p:cNvSpPr>
              <a:spLocks noChangeAspect="1"/>
            </p:cNvSpPr>
            <p:nvPr/>
          </p:nvSpPr>
          <p:spPr>
            <a:xfrm rot="3680293">
              <a:off x="5592846" y="-322241"/>
              <a:ext cx="4209080" cy="4376702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2" name="Овал 138"/>
            <p:cNvSpPr>
              <a:spLocks noChangeAspect="1"/>
            </p:cNvSpPr>
            <p:nvPr/>
          </p:nvSpPr>
          <p:spPr>
            <a:xfrm rot="3680293">
              <a:off x="5440343" y="-270941"/>
              <a:ext cx="4514086" cy="4693852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3" name="Овал 138"/>
            <p:cNvSpPr>
              <a:spLocks noChangeAspect="1"/>
            </p:cNvSpPr>
            <p:nvPr/>
          </p:nvSpPr>
          <p:spPr>
            <a:xfrm rot="3680293">
              <a:off x="5287842" y="-219643"/>
              <a:ext cx="4819088" cy="501100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4" name="Овал 138"/>
            <p:cNvSpPr>
              <a:spLocks noChangeAspect="1"/>
            </p:cNvSpPr>
            <p:nvPr/>
          </p:nvSpPr>
          <p:spPr>
            <a:xfrm rot="3680293">
              <a:off x="5135338" y="-168344"/>
              <a:ext cx="5124095" cy="532815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5" name="Овал 138"/>
            <p:cNvSpPr>
              <a:spLocks noChangeAspect="1"/>
            </p:cNvSpPr>
            <p:nvPr/>
          </p:nvSpPr>
          <p:spPr>
            <a:xfrm rot="3680293">
              <a:off x="4982837" y="-117046"/>
              <a:ext cx="5429098" cy="564531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6" name="Овал 138"/>
            <p:cNvSpPr>
              <a:spLocks noChangeAspect="1"/>
            </p:cNvSpPr>
            <p:nvPr/>
          </p:nvSpPr>
          <p:spPr>
            <a:xfrm rot="3680293">
              <a:off x="4830333" y="-65745"/>
              <a:ext cx="5734106" cy="596246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7" name="Овал 138"/>
            <p:cNvSpPr>
              <a:spLocks noChangeAspect="1"/>
            </p:cNvSpPr>
            <p:nvPr/>
          </p:nvSpPr>
          <p:spPr>
            <a:xfrm rot="3680293">
              <a:off x="4677830" y="-14447"/>
              <a:ext cx="6039111" cy="627961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8" name="Овал 138"/>
            <p:cNvSpPr>
              <a:spLocks noChangeAspect="1"/>
            </p:cNvSpPr>
            <p:nvPr/>
          </p:nvSpPr>
          <p:spPr>
            <a:xfrm rot="3680293">
              <a:off x="4525328" y="36852"/>
              <a:ext cx="6344116" cy="659676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9" name="Овал 138"/>
            <p:cNvSpPr>
              <a:spLocks noChangeAspect="1"/>
            </p:cNvSpPr>
            <p:nvPr/>
          </p:nvSpPr>
          <p:spPr>
            <a:xfrm rot="3680293">
              <a:off x="4372825" y="88151"/>
              <a:ext cx="6649122" cy="691391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0" name="Овал 138"/>
            <p:cNvSpPr>
              <a:spLocks noChangeAspect="1"/>
            </p:cNvSpPr>
            <p:nvPr/>
          </p:nvSpPr>
          <p:spPr>
            <a:xfrm rot="3680293">
              <a:off x="4220323" y="139450"/>
              <a:ext cx="6954126" cy="7231072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1" name="Овал 138"/>
            <p:cNvSpPr>
              <a:spLocks noChangeAspect="1"/>
            </p:cNvSpPr>
            <p:nvPr/>
          </p:nvSpPr>
          <p:spPr>
            <a:xfrm rot="3680293">
              <a:off x="4067819" y="190750"/>
              <a:ext cx="7259134" cy="754822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2" name="Овал 138"/>
            <p:cNvSpPr>
              <a:spLocks noChangeAspect="1"/>
            </p:cNvSpPr>
            <p:nvPr/>
          </p:nvSpPr>
          <p:spPr>
            <a:xfrm rot="3680293">
              <a:off x="3915317" y="242049"/>
              <a:ext cx="7564139" cy="78653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3" name="Овал 138"/>
            <p:cNvSpPr>
              <a:spLocks noChangeAspect="1"/>
            </p:cNvSpPr>
            <p:nvPr/>
          </p:nvSpPr>
          <p:spPr>
            <a:xfrm rot="3680293">
              <a:off x="3762814" y="293348"/>
              <a:ext cx="7869144" cy="818252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4" name="Овал 138"/>
            <p:cNvSpPr>
              <a:spLocks noChangeAspect="1"/>
            </p:cNvSpPr>
            <p:nvPr/>
          </p:nvSpPr>
          <p:spPr>
            <a:xfrm rot="3680293">
              <a:off x="3610311" y="344647"/>
              <a:ext cx="8174150" cy="849968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5" name="Овал 138"/>
            <p:cNvSpPr>
              <a:spLocks noChangeAspect="1"/>
            </p:cNvSpPr>
            <p:nvPr/>
          </p:nvSpPr>
          <p:spPr>
            <a:xfrm rot="3680293">
              <a:off x="3457809" y="395946"/>
              <a:ext cx="8479154" cy="881683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6" name="Овал 138"/>
            <p:cNvSpPr>
              <a:spLocks noChangeAspect="1"/>
            </p:cNvSpPr>
            <p:nvPr/>
          </p:nvSpPr>
          <p:spPr>
            <a:xfrm rot="3680293">
              <a:off x="3305305" y="447246"/>
              <a:ext cx="8784162" cy="913398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7" name="Овал 138"/>
            <p:cNvSpPr>
              <a:spLocks noChangeAspect="1"/>
            </p:cNvSpPr>
            <p:nvPr/>
          </p:nvSpPr>
          <p:spPr>
            <a:xfrm rot="3680293">
              <a:off x="3152803" y="498545"/>
              <a:ext cx="9089167" cy="945113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8" name="Овал 138"/>
            <p:cNvSpPr>
              <a:spLocks noChangeAspect="1"/>
            </p:cNvSpPr>
            <p:nvPr/>
          </p:nvSpPr>
          <p:spPr>
            <a:xfrm rot="3680293">
              <a:off x="3000300" y="549843"/>
              <a:ext cx="9394172" cy="976828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2">
                      <a:alpha val="12000"/>
                    </a:schemeClr>
                  </a:gs>
                  <a:gs pos="0">
                    <a:schemeClr val="accent2">
                      <a:lumMod val="20000"/>
                      <a:lumOff val="80000"/>
                      <a:alpha val="19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35" name="Текст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370567" y="246063"/>
            <a:ext cx="6942563" cy="1620837"/>
          </a:xfrm>
          <a:prstGeom prst="rect">
            <a:avLst/>
          </a:prstGeom>
        </p:spPr>
        <p:txBody>
          <a:bodyPr/>
          <a:lstStyle>
            <a:lvl1pPr>
              <a:defRPr sz="4400" b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  <a:lvl2pPr>
              <a:defRPr sz="4000">
                <a:latin typeface="Century Gothic" panose="020B0502020202020204" pitchFamily="34" charset="0"/>
              </a:defRPr>
            </a:lvl2pPr>
            <a:lvl3pPr>
              <a:defRPr sz="4000">
                <a:latin typeface="Century Gothic" panose="020B0502020202020204" pitchFamily="34" charset="0"/>
              </a:defRPr>
            </a:lvl3pPr>
            <a:lvl4pPr>
              <a:defRPr sz="4000">
                <a:latin typeface="Century Gothic" panose="020B0502020202020204" pitchFamily="34" charset="0"/>
              </a:defRPr>
            </a:lvl4pPr>
            <a:lvl5pPr>
              <a:defRPr sz="40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ru-RU" dirty="0" smtClean="0"/>
              <a:t>ЗАГОЛОВОК СЛАЙДА</a:t>
            </a:r>
            <a:endParaRPr lang="ru-RU" dirty="0"/>
          </a:p>
        </p:txBody>
      </p:sp>
      <p:pic>
        <p:nvPicPr>
          <p:cNvPr id="36" name="Рисунок 3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2302" y="309419"/>
            <a:ext cx="1440000" cy="53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269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6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Овал 8"/>
          <p:cNvSpPr/>
          <p:nvPr userDrawn="1"/>
        </p:nvSpPr>
        <p:spPr>
          <a:xfrm>
            <a:off x="8955530" y="-1782418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2000">
                <a:schemeClr val="accent2">
                  <a:alpha val="44000"/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 userDrawn="1"/>
        </p:nvSpPr>
        <p:spPr>
          <a:xfrm>
            <a:off x="-3889276" y="2805480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8000">
                <a:schemeClr val="accent4">
                  <a:alpha val="17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11" name="Группа 10"/>
          <p:cNvGrpSpPr/>
          <p:nvPr userDrawn="1"/>
        </p:nvGrpSpPr>
        <p:grpSpPr>
          <a:xfrm rot="14752717">
            <a:off x="2012124" y="814840"/>
            <a:ext cx="10443197" cy="11411711"/>
            <a:chOff x="922157" y="-1183570"/>
            <a:chExt cx="10443197" cy="11411711"/>
          </a:xfrm>
        </p:grpSpPr>
        <p:sp>
          <p:nvSpPr>
            <p:cNvPr id="12" name="Овал 138"/>
            <p:cNvSpPr>
              <a:spLocks noChangeAspect="1"/>
            </p:cNvSpPr>
            <p:nvPr/>
          </p:nvSpPr>
          <p:spPr>
            <a:xfrm rot="3473911">
              <a:off x="4545968" y="6968937"/>
              <a:ext cx="3195574" cy="332283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3" name="Овал 138"/>
            <p:cNvSpPr>
              <a:spLocks noChangeAspect="1"/>
            </p:cNvSpPr>
            <p:nvPr/>
          </p:nvSpPr>
          <p:spPr>
            <a:xfrm rot="3473911">
              <a:off x="4382928" y="6571197"/>
              <a:ext cx="3521654" cy="366190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Овал 138"/>
            <p:cNvSpPr>
              <a:spLocks noChangeAspect="1"/>
            </p:cNvSpPr>
            <p:nvPr/>
          </p:nvSpPr>
          <p:spPr>
            <a:xfrm rot="3473911">
              <a:off x="4219888" y="6173460"/>
              <a:ext cx="3847735" cy="400096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Овал 138"/>
            <p:cNvSpPr>
              <a:spLocks noChangeAspect="1"/>
            </p:cNvSpPr>
            <p:nvPr/>
          </p:nvSpPr>
          <p:spPr>
            <a:xfrm rot="3473911">
              <a:off x="4056849" y="5775722"/>
              <a:ext cx="4173813" cy="434003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" name="Овал 138"/>
            <p:cNvSpPr>
              <a:spLocks noChangeAspect="1"/>
            </p:cNvSpPr>
            <p:nvPr/>
          </p:nvSpPr>
          <p:spPr>
            <a:xfrm rot="3473911">
              <a:off x="3893809" y="5377984"/>
              <a:ext cx="4499893" cy="467909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7" name="Овал 138"/>
            <p:cNvSpPr>
              <a:spLocks noChangeAspect="1"/>
            </p:cNvSpPr>
            <p:nvPr/>
          </p:nvSpPr>
          <p:spPr>
            <a:xfrm rot="3473911">
              <a:off x="3730769" y="4980248"/>
              <a:ext cx="4825972" cy="501815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Овал 138"/>
            <p:cNvSpPr>
              <a:spLocks noChangeAspect="1"/>
            </p:cNvSpPr>
            <p:nvPr/>
          </p:nvSpPr>
          <p:spPr>
            <a:xfrm rot="3473911">
              <a:off x="3567732" y="4582512"/>
              <a:ext cx="5152047" cy="535722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9" name="Овал 138"/>
            <p:cNvSpPr>
              <a:spLocks noChangeAspect="1"/>
            </p:cNvSpPr>
            <p:nvPr/>
          </p:nvSpPr>
          <p:spPr>
            <a:xfrm rot="3473911">
              <a:off x="3404691" y="4184773"/>
              <a:ext cx="5478128" cy="569628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Овал 138"/>
            <p:cNvSpPr>
              <a:spLocks noChangeAspect="1"/>
            </p:cNvSpPr>
            <p:nvPr/>
          </p:nvSpPr>
          <p:spPr>
            <a:xfrm rot="3473911">
              <a:off x="3241653" y="3787036"/>
              <a:ext cx="5804205" cy="603535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1" name="Овал 138"/>
            <p:cNvSpPr>
              <a:spLocks noChangeAspect="1"/>
            </p:cNvSpPr>
            <p:nvPr/>
          </p:nvSpPr>
          <p:spPr>
            <a:xfrm rot="3473911">
              <a:off x="3078613" y="3389299"/>
              <a:ext cx="6130285" cy="637441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2" name="Овал 138"/>
            <p:cNvSpPr>
              <a:spLocks noChangeAspect="1"/>
            </p:cNvSpPr>
            <p:nvPr/>
          </p:nvSpPr>
          <p:spPr>
            <a:xfrm rot="3473911">
              <a:off x="2915573" y="2991560"/>
              <a:ext cx="6456365" cy="671348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3" name="Овал 138"/>
            <p:cNvSpPr>
              <a:spLocks noChangeAspect="1"/>
            </p:cNvSpPr>
            <p:nvPr/>
          </p:nvSpPr>
          <p:spPr>
            <a:xfrm rot="3473911">
              <a:off x="2752534" y="2593824"/>
              <a:ext cx="6782443" cy="705254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4" name="Овал 138"/>
            <p:cNvSpPr>
              <a:spLocks noChangeAspect="1"/>
            </p:cNvSpPr>
            <p:nvPr/>
          </p:nvSpPr>
          <p:spPr>
            <a:xfrm rot="3473911">
              <a:off x="2589495" y="2196086"/>
              <a:ext cx="7108521" cy="739161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5" name="Овал 138"/>
            <p:cNvSpPr>
              <a:spLocks noChangeAspect="1"/>
            </p:cNvSpPr>
            <p:nvPr/>
          </p:nvSpPr>
          <p:spPr>
            <a:xfrm rot="3473911">
              <a:off x="2426455" y="1798348"/>
              <a:ext cx="7434600" cy="773067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6" name="Овал 138"/>
            <p:cNvSpPr>
              <a:spLocks noChangeAspect="1"/>
            </p:cNvSpPr>
            <p:nvPr/>
          </p:nvSpPr>
          <p:spPr>
            <a:xfrm rot="3473911">
              <a:off x="2263415" y="1400610"/>
              <a:ext cx="7760680" cy="806974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7" name="Овал 138"/>
            <p:cNvSpPr>
              <a:spLocks noChangeAspect="1"/>
            </p:cNvSpPr>
            <p:nvPr/>
          </p:nvSpPr>
          <p:spPr>
            <a:xfrm rot="3473911">
              <a:off x="2100375" y="1002873"/>
              <a:ext cx="8086760" cy="840880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8" name="Овал 138"/>
            <p:cNvSpPr>
              <a:spLocks noChangeAspect="1"/>
            </p:cNvSpPr>
            <p:nvPr/>
          </p:nvSpPr>
          <p:spPr>
            <a:xfrm rot="3473911">
              <a:off x="1937336" y="605137"/>
              <a:ext cx="8412838" cy="874787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9" name="Овал 138"/>
            <p:cNvSpPr>
              <a:spLocks noChangeAspect="1"/>
            </p:cNvSpPr>
            <p:nvPr/>
          </p:nvSpPr>
          <p:spPr>
            <a:xfrm rot="3473911">
              <a:off x="1774297" y="207398"/>
              <a:ext cx="8738916" cy="908693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0" name="Овал 138"/>
            <p:cNvSpPr>
              <a:spLocks noChangeAspect="1"/>
            </p:cNvSpPr>
            <p:nvPr/>
          </p:nvSpPr>
          <p:spPr>
            <a:xfrm rot="3473911">
              <a:off x="1611258" y="-190338"/>
              <a:ext cx="9064995" cy="942600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1" name="Овал 138"/>
            <p:cNvSpPr>
              <a:spLocks noChangeAspect="1"/>
            </p:cNvSpPr>
            <p:nvPr/>
          </p:nvSpPr>
          <p:spPr>
            <a:xfrm rot="3473911">
              <a:off x="1448217" y="-588077"/>
              <a:ext cx="9391076" cy="976506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2" name="Овал 138"/>
            <p:cNvSpPr>
              <a:spLocks noChangeAspect="1"/>
            </p:cNvSpPr>
            <p:nvPr/>
          </p:nvSpPr>
          <p:spPr>
            <a:xfrm rot="3473911">
              <a:off x="1285178" y="-985813"/>
              <a:ext cx="9717154" cy="1010413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Овал 138"/>
            <p:cNvSpPr>
              <a:spLocks noChangeAspect="1"/>
            </p:cNvSpPr>
            <p:nvPr/>
          </p:nvSpPr>
          <p:spPr>
            <a:xfrm rot="3473911">
              <a:off x="1122139" y="-1383552"/>
              <a:ext cx="10043233" cy="1044319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9327" y="321514"/>
            <a:ext cx="1436246" cy="529636"/>
          </a:xfrm>
          <a:prstGeom prst="rect">
            <a:avLst/>
          </a:prstGeom>
        </p:spPr>
      </p:pic>
      <p:sp>
        <p:nvSpPr>
          <p:cNvPr id="35" name="Текст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372183" y="358073"/>
            <a:ext cx="7240588" cy="7635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GPN_DIN Regular" panose="020B0504020202020204" pitchFamily="34" charset="-52"/>
                <a:cs typeface="+mn-cs"/>
              </a:rPr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22507781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6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 userDrawn="1"/>
        </p:nvSpPr>
        <p:spPr bwMode="auto">
          <a:xfrm>
            <a:off x="0" y="0"/>
            <a:ext cx="12200254" cy="3429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9" name="Овал 8"/>
          <p:cNvSpPr/>
          <p:nvPr userDrawn="1"/>
        </p:nvSpPr>
        <p:spPr>
          <a:xfrm>
            <a:off x="9304571" y="1406569"/>
            <a:ext cx="7803166" cy="7803166"/>
          </a:xfrm>
          <a:prstGeom prst="ellipse">
            <a:avLst/>
          </a:prstGeom>
          <a:gradFill flip="none" rotWithShape="1">
            <a:gsLst>
              <a:gs pos="66000">
                <a:schemeClr val="accent2">
                  <a:lumMod val="20000"/>
                  <a:lumOff val="80000"/>
                  <a:alpha val="0"/>
                </a:schemeClr>
              </a:gs>
              <a:gs pos="4000">
                <a:schemeClr val="accent2">
                  <a:lumMod val="70000"/>
                  <a:alpha val="24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  <a:effectLst>
            <a:softEdge rad="635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 userDrawn="1"/>
        </p:nvSpPr>
        <p:spPr>
          <a:xfrm>
            <a:off x="-3927608" y="3782487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8000">
                <a:schemeClr val="accent4">
                  <a:alpha val="17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11" name="Группа 10"/>
          <p:cNvGrpSpPr/>
          <p:nvPr userDrawn="1"/>
        </p:nvGrpSpPr>
        <p:grpSpPr>
          <a:xfrm rot="14752717">
            <a:off x="2012124" y="814840"/>
            <a:ext cx="10443197" cy="11411711"/>
            <a:chOff x="922157" y="-1183570"/>
            <a:chExt cx="10443197" cy="11411711"/>
          </a:xfrm>
        </p:grpSpPr>
        <p:sp>
          <p:nvSpPr>
            <p:cNvPr id="12" name="Овал 138"/>
            <p:cNvSpPr>
              <a:spLocks noChangeAspect="1"/>
            </p:cNvSpPr>
            <p:nvPr/>
          </p:nvSpPr>
          <p:spPr>
            <a:xfrm rot="3473911">
              <a:off x="4545968" y="6968937"/>
              <a:ext cx="3195574" cy="332283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3" name="Овал 138"/>
            <p:cNvSpPr>
              <a:spLocks noChangeAspect="1"/>
            </p:cNvSpPr>
            <p:nvPr/>
          </p:nvSpPr>
          <p:spPr>
            <a:xfrm rot="3473911">
              <a:off x="4382928" y="6571197"/>
              <a:ext cx="3521654" cy="366190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Овал 138"/>
            <p:cNvSpPr>
              <a:spLocks noChangeAspect="1"/>
            </p:cNvSpPr>
            <p:nvPr/>
          </p:nvSpPr>
          <p:spPr>
            <a:xfrm rot="3473911">
              <a:off x="4219888" y="6173460"/>
              <a:ext cx="3847735" cy="400096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Овал 138"/>
            <p:cNvSpPr>
              <a:spLocks noChangeAspect="1"/>
            </p:cNvSpPr>
            <p:nvPr/>
          </p:nvSpPr>
          <p:spPr>
            <a:xfrm rot="3473911">
              <a:off x="4056849" y="5775722"/>
              <a:ext cx="4173813" cy="434003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" name="Овал 138"/>
            <p:cNvSpPr>
              <a:spLocks noChangeAspect="1"/>
            </p:cNvSpPr>
            <p:nvPr/>
          </p:nvSpPr>
          <p:spPr>
            <a:xfrm rot="3473911">
              <a:off x="3893809" y="5377984"/>
              <a:ext cx="4499893" cy="467909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7" name="Овал 138"/>
            <p:cNvSpPr>
              <a:spLocks noChangeAspect="1"/>
            </p:cNvSpPr>
            <p:nvPr/>
          </p:nvSpPr>
          <p:spPr>
            <a:xfrm rot="3473911">
              <a:off x="3730769" y="4980248"/>
              <a:ext cx="4825972" cy="501815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Овал 138"/>
            <p:cNvSpPr>
              <a:spLocks noChangeAspect="1"/>
            </p:cNvSpPr>
            <p:nvPr/>
          </p:nvSpPr>
          <p:spPr>
            <a:xfrm rot="3473911">
              <a:off x="3567732" y="4582512"/>
              <a:ext cx="5152047" cy="535722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9" name="Овал 138"/>
            <p:cNvSpPr>
              <a:spLocks noChangeAspect="1"/>
            </p:cNvSpPr>
            <p:nvPr/>
          </p:nvSpPr>
          <p:spPr>
            <a:xfrm rot="3473911">
              <a:off x="3404691" y="4184773"/>
              <a:ext cx="5478128" cy="569628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Овал 138"/>
            <p:cNvSpPr>
              <a:spLocks noChangeAspect="1"/>
            </p:cNvSpPr>
            <p:nvPr/>
          </p:nvSpPr>
          <p:spPr>
            <a:xfrm rot="3473911">
              <a:off x="3241653" y="3787036"/>
              <a:ext cx="5804205" cy="603535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1" name="Овал 138"/>
            <p:cNvSpPr>
              <a:spLocks noChangeAspect="1"/>
            </p:cNvSpPr>
            <p:nvPr/>
          </p:nvSpPr>
          <p:spPr>
            <a:xfrm rot="3473911">
              <a:off x="3078613" y="3389299"/>
              <a:ext cx="6130285" cy="637441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2" name="Овал 138"/>
            <p:cNvSpPr>
              <a:spLocks noChangeAspect="1"/>
            </p:cNvSpPr>
            <p:nvPr/>
          </p:nvSpPr>
          <p:spPr>
            <a:xfrm rot="3473911">
              <a:off x="2915573" y="2991560"/>
              <a:ext cx="6456365" cy="671348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3" name="Овал 138"/>
            <p:cNvSpPr>
              <a:spLocks noChangeAspect="1"/>
            </p:cNvSpPr>
            <p:nvPr/>
          </p:nvSpPr>
          <p:spPr>
            <a:xfrm rot="3473911">
              <a:off x="2752534" y="2593824"/>
              <a:ext cx="6782443" cy="705254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4" name="Овал 138"/>
            <p:cNvSpPr>
              <a:spLocks noChangeAspect="1"/>
            </p:cNvSpPr>
            <p:nvPr/>
          </p:nvSpPr>
          <p:spPr>
            <a:xfrm rot="3473911">
              <a:off x="2589495" y="2196086"/>
              <a:ext cx="7108521" cy="739161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5" name="Овал 138"/>
            <p:cNvSpPr>
              <a:spLocks noChangeAspect="1"/>
            </p:cNvSpPr>
            <p:nvPr/>
          </p:nvSpPr>
          <p:spPr>
            <a:xfrm rot="3473911">
              <a:off x="2426455" y="1798348"/>
              <a:ext cx="7434600" cy="773067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6" name="Овал 138"/>
            <p:cNvSpPr>
              <a:spLocks noChangeAspect="1"/>
            </p:cNvSpPr>
            <p:nvPr/>
          </p:nvSpPr>
          <p:spPr>
            <a:xfrm rot="3473911">
              <a:off x="2263415" y="1400610"/>
              <a:ext cx="7760680" cy="806974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7" name="Овал 138"/>
            <p:cNvSpPr>
              <a:spLocks noChangeAspect="1"/>
            </p:cNvSpPr>
            <p:nvPr/>
          </p:nvSpPr>
          <p:spPr>
            <a:xfrm rot="3473911">
              <a:off x="2100375" y="1002873"/>
              <a:ext cx="8086760" cy="840880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8" name="Овал 138"/>
            <p:cNvSpPr>
              <a:spLocks noChangeAspect="1"/>
            </p:cNvSpPr>
            <p:nvPr/>
          </p:nvSpPr>
          <p:spPr>
            <a:xfrm rot="3473911">
              <a:off x="1937336" y="605137"/>
              <a:ext cx="8412838" cy="874787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9" name="Овал 138"/>
            <p:cNvSpPr>
              <a:spLocks noChangeAspect="1"/>
            </p:cNvSpPr>
            <p:nvPr/>
          </p:nvSpPr>
          <p:spPr>
            <a:xfrm rot="3473911">
              <a:off x="1774297" y="207398"/>
              <a:ext cx="8738916" cy="908693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0" name="Овал 138"/>
            <p:cNvSpPr>
              <a:spLocks noChangeAspect="1"/>
            </p:cNvSpPr>
            <p:nvPr/>
          </p:nvSpPr>
          <p:spPr>
            <a:xfrm rot="3473911">
              <a:off x="1611258" y="-190338"/>
              <a:ext cx="9064995" cy="942600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1" name="Овал 138"/>
            <p:cNvSpPr>
              <a:spLocks noChangeAspect="1"/>
            </p:cNvSpPr>
            <p:nvPr/>
          </p:nvSpPr>
          <p:spPr>
            <a:xfrm rot="3473911">
              <a:off x="1448217" y="-588077"/>
              <a:ext cx="9391076" cy="976506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2" name="Овал 138"/>
            <p:cNvSpPr>
              <a:spLocks noChangeAspect="1"/>
            </p:cNvSpPr>
            <p:nvPr/>
          </p:nvSpPr>
          <p:spPr>
            <a:xfrm rot="3473911">
              <a:off x="1285178" y="-985813"/>
              <a:ext cx="9717154" cy="1010413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Овал 138"/>
            <p:cNvSpPr>
              <a:spLocks noChangeAspect="1"/>
            </p:cNvSpPr>
            <p:nvPr/>
          </p:nvSpPr>
          <p:spPr>
            <a:xfrm rot="3473911">
              <a:off x="1122139" y="-1383552"/>
              <a:ext cx="10043233" cy="1044319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36" name="Текст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370567" y="246063"/>
            <a:ext cx="6942563" cy="1620837"/>
          </a:xfrm>
          <a:prstGeom prst="rect">
            <a:avLst/>
          </a:prstGeom>
        </p:spPr>
        <p:txBody>
          <a:bodyPr/>
          <a:lstStyle>
            <a:lvl1pPr>
              <a:defRPr sz="4400" b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  <a:lvl2pPr>
              <a:defRPr sz="4000">
                <a:latin typeface="Century Gothic" panose="020B0502020202020204" pitchFamily="34" charset="0"/>
              </a:defRPr>
            </a:lvl2pPr>
            <a:lvl3pPr>
              <a:defRPr sz="4000">
                <a:latin typeface="Century Gothic" panose="020B0502020202020204" pitchFamily="34" charset="0"/>
              </a:defRPr>
            </a:lvl3pPr>
            <a:lvl4pPr>
              <a:defRPr sz="4000">
                <a:latin typeface="Century Gothic" panose="020B0502020202020204" pitchFamily="34" charset="0"/>
              </a:defRPr>
            </a:lvl4pPr>
            <a:lvl5pPr>
              <a:defRPr sz="40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ru-RU" dirty="0" smtClean="0"/>
              <a:t>ЗАГОЛОВОК СЛАЙДА</a:t>
            </a:r>
            <a:endParaRPr lang="ru-RU" dirty="0"/>
          </a:p>
        </p:txBody>
      </p:sp>
      <p:pic>
        <p:nvPicPr>
          <p:cNvPr id="37" name="Рисунок 3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402302" y="309419"/>
            <a:ext cx="1440000" cy="53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634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7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9327" y="321514"/>
            <a:ext cx="1436246" cy="529636"/>
          </a:xfrm>
          <a:prstGeom prst="rect">
            <a:avLst/>
          </a:prstGeom>
        </p:spPr>
      </p:pic>
      <p:sp>
        <p:nvSpPr>
          <p:cNvPr id="10" name="Овал 9"/>
          <p:cNvSpPr/>
          <p:nvPr userDrawn="1"/>
        </p:nvSpPr>
        <p:spPr>
          <a:xfrm>
            <a:off x="8725169" y="96058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2000">
                <a:schemeClr val="accent2">
                  <a:alpha val="44000"/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1" name="Овал 10"/>
          <p:cNvSpPr/>
          <p:nvPr userDrawn="1"/>
        </p:nvSpPr>
        <p:spPr>
          <a:xfrm>
            <a:off x="-3000826" y="3282244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8000">
                <a:schemeClr val="accent4">
                  <a:alpha val="17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12" name="Группа 11"/>
          <p:cNvGrpSpPr/>
          <p:nvPr userDrawn="1"/>
        </p:nvGrpSpPr>
        <p:grpSpPr>
          <a:xfrm>
            <a:off x="2489436" y="2091381"/>
            <a:ext cx="13517592" cy="12035953"/>
            <a:chOff x="2489436" y="2091381"/>
            <a:chExt cx="13517592" cy="12035953"/>
          </a:xfrm>
        </p:grpSpPr>
        <p:sp>
          <p:nvSpPr>
            <p:cNvPr id="13" name="Овал 138"/>
            <p:cNvSpPr>
              <a:spLocks noChangeAspect="1"/>
            </p:cNvSpPr>
            <p:nvPr/>
          </p:nvSpPr>
          <p:spPr>
            <a:xfrm rot="3720000">
              <a:off x="11344199" y="6374800"/>
              <a:ext cx="4571796" cy="4753862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Овал 138"/>
            <p:cNvSpPr>
              <a:spLocks noChangeAspect="1"/>
            </p:cNvSpPr>
            <p:nvPr/>
          </p:nvSpPr>
          <p:spPr>
            <a:xfrm rot="3720000">
              <a:off x="10805752" y="6092106"/>
              <a:ext cx="5038307" cy="523895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Овал 138"/>
            <p:cNvSpPr>
              <a:spLocks noChangeAspect="1"/>
            </p:cNvSpPr>
            <p:nvPr/>
          </p:nvSpPr>
          <p:spPr>
            <a:xfrm rot="3720000">
              <a:off x="10267307" y="5809414"/>
              <a:ext cx="5504820" cy="572404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" name="Овал 138"/>
            <p:cNvSpPr>
              <a:spLocks noChangeAspect="1"/>
            </p:cNvSpPr>
            <p:nvPr/>
          </p:nvSpPr>
          <p:spPr>
            <a:xfrm rot="3720000">
              <a:off x="9728863" y="5526721"/>
              <a:ext cx="5971328" cy="620913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7" name="Овал 138"/>
            <p:cNvSpPr>
              <a:spLocks noChangeAspect="1"/>
            </p:cNvSpPr>
            <p:nvPr/>
          </p:nvSpPr>
          <p:spPr>
            <a:xfrm rot="3720000">
              <a:off x="9190418" y="5244027"/>
              <a:ext cx="6437839" cy="669421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Овал 138"/>
            <p:cNvSpPr>
              <a:spLocks noChangeAspect="1"/>
            </p:cNvSpPr>
            <p:nvPr/>
          </p:nvSpPr>
          <p:spPr>
            <a:xfrm rot="3720000">
              <a:off x="8651976" y="4961337"/>
              <a:ext cx="6904349" cy="717930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9" name="Овал 138"/>
            <p:cNvSpPr>
              <a:spLocks noChangeAspect="1"/>
            </p:cNvSpPr>
            <p:nvPr/>
          </p:nvSpPr>
          <p:spPr>
            <a:xfrm rot="3720000">
              <a:off x="8113535" y="4678644"/>
              <a:ext cx="7370853" cy="766439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Овал 138"/>
            <p:cNvSpPr>
              <a:spLocks noChangeAspect="1"/>
            </p:cNvSpPr>
            <p:nvPr/>
          </p:nvSpPr>
          <p:spPr>
            <a:xfrm rot="3720000">
              <a:off x="7575089" y="4395952"/>
              <a:ext cx="7837366" cy="8149482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1" name="Овал 138"/>
            <p:cNvSpPr>
              <a:spLocks noChangeAspect="1"/>
            </p:cNvSpPr>
            <p:nvPr/>
          </p:nvSpPr>
          <p:spPr>
            <a:xfrm rot="3720000">
              <a:off x="7036647" y="4113259"/>
              <a:ext cx="8303873" cy="863457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2" name="Овал 138"/>
            <p:cNvSpPr>
              <a:spLocks noChangeAspect="1"/>
            </p:cNvSpPr>
            <p:nvPr/>
          </p:nvSpPr>
          <p:spPr>
            <a:xfrm rot="3720000">
              <a:off x="6498203" y="3830567"/>
              <a:ext cx="8770384" cy="911965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3" name="Овал 138"/>
            <p:cNvSpPr>
              <a:spLocks noChangeAspect="1"/>
            </p:cNvSpPr>
            <p:nvPr/>
          </p:nvSpPr>
          <p:spPr>
            <a:xfrm rot="3720000">
              <a:off x="5959757" y="3547874"/>
              <a:ext cx="9236895" cy="960474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4" name="Овал 138"/>
            <p:cNvSpPr>
              <a:spLocks noChangeAspect="1"/>
            </p:cNvSpPr>
            <p:nvPr/>
          </p:nvSpPr>
          <p:spPr>
            <a:xfrm rot="3720000">
              <a:off x="5421315" y="3265182"/>
              <a:ext cx="9703404" cy="1008983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5" name="Овал 138"/>
            <p:cNvSpPr>
              <a:spLocks noChangeAspect="1"/>
            </p:cNvSpPr>
            <p:nvPr/>
          </p:nvSpPr>
          <p:spPr>
            <a:xfrm rot="3720000">
              <a:off x="4882871" y="2982488"/>
              <a:ext cx="10169912" cy="1057492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6" name="Овал 138"/>
            <p:cNvSpPr>
              <a:spLocks noChangeAspect="1"/>
            </p:cNvSpPr>
            <p:nvPr/>
          </p:nvSpPr>
          <p:spPr>
            <a:xfrm rot="3720000">
              <a:off x="4344427" y="2699797"/>
              <a:ext cx="10636422" cy="11060012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7" name="Овал 138"/>
            <p:cNvSpPr>
              <a:spLocks noChangeAspect="1"/>
            </p:cNvSpPr>
            <p:nvPr/>
          </p:nvSpPr>
          <p:spPr>
            <a:xfrm rot="3720000">
              <a:off x="3805982" y="2417103"/>
              <a:ext cx="11102933" cy="1154510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8" name="Овал 138"/>
            <p:cNvSpPr>
              <a:spLocks noChangeAspect="1"/>
            </p:cNvSpPr>
            <p:nvPr/>
          </p:nvSpPr>
          <p:spPr>
            <a:xfrm rot="3720000">
              <a:off x="3267537" y="2134411"/>
              <a:ext cx="11569445" cy="1203018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9" name="Овал 138"/>
            <p:cNvSpPr>
              <a:spLocks noChangeAspect="1"/>
            </p:cNvSpPr>
            <p:nvPr/>
          </p:nvSpPr>
          <p:spPr>
            <a:xfrm rot="3720000">
              <a:off x="2729096" y="1851721"/>
              <a:ext cx="12035953" cy="125152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24000"/>
                    </a:srgbClr>
                  </a:gs>
                  <a:gs pos="35145">
                    <a:schemeClr val="accent4">
                      <a:alpha val="17000"/>
                    </a:schemeClr>
                  </a:gs>
                  <a:gs pos="0">
                    <a:schemeClr val="accent2">
                      <a:alpha val="7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31" name="Текст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372183" y="358073"/>
            <a:ext cx="7240588" cy="7635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GPN_DIN Regular" panose="020B0504020202020204" pitchFamily="34" charset="-52"/>
                <a:cs typeface="+mn-cs"/>
              </a:rPr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2147177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8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/>
          <p:cNvSpPr/>
          <p:nvPr userDrawn="1"/>
        </p:nvSpPr>
        <p:spPr bwMode="auto">
          <a:xfrm>
            <a:off x="0" y="0"/>
            <a:ext cx="8926892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9327" y="328504"/>
            <a:ext cx="1436246" cy="529636"/>
          </a:xfrm>
          <a:prstGeom prst="rect">
            <a:avLst/>
          </a:prstGeom>
        </p:spPr>
      </p:pic>
      <p:sp>
        <p:nvSpPr>
          <p:cNvPr id="10" name="Овал 9"/>
          <p:cNvSpPr/>
          <p:nvPr userDrawn="1"/>
        </p:nvSpPr>
        <p:spPr>
          <a:xfrm>
            <a:off x="9457145" y="1097481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2000">
                <a:schemeClr val="accent2">
                  <a:alpha val="44000"/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1" name="Овал 10"/>
          <p:cNvSpPr/>
          <p:nvPr userDrawn="1"/>
        </p:nvSpPr>
        <p:spPr>
          <a:xfrm>
            <a:off x="205691" y="5847591"/>
            <a:ext cx="7803166" cy="7803166"/>
          </a:xfrm>
          <a:prstGeom prst="ellipse">
            <a:avLst/>
          </a:prstGeom>
          <a:gradFill flip="none" rotWithShape="1">
            <a:gsLst>
              <a:gs pos="80000">
                <a:schemeClr val="bg1">
                  <a:alpha val="13000"/>
                </a:schemeClr>
              </a:gs>
              <a:gs pos="18000">
                <a:schemeClr val="accent4">
                  <a:alpha val="17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12" name="Группа 11"/>
          <p:cNvGrpSpPr/>
          <p:nvPr userDrawn="1"/>
        </p:nvGrpSpPr>
        <p:grpSpPr>
          <a:xfrm>
            <a:off x="2489436" y="2091381"/>
            <a:ext cx="13517592" cy="12035953"/>
            <a:chOff x="2489436" y="2091381"/>
            <a:chExt cx="13517592" cy="12035953"/>
          </a:xfrm>
        </p:grpSpPr>
        <p:sp>
          <p:nvSpPr>
            <p:cNvPr id="13" name="Овал 138"/>
            <p:cNvSpPr>
              <a:spLocks noChangeAspect="1"/>
            </p:cNvSpPr>
            <p:nvPr/>
          </p:nvSpPr>
          <p:spPr>
            <a:xfrm rot="3720000">
              <a:off x="11344199" y="6374800"/>
              <a:ext cx="4571796" cy="4753862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Овал 138"/>
            <p:cNvSpPr>
              <a:spLocks noChangeAspect="1"/>
            </p:cNvSpPr>
            <p:nvPr/>
          </p:nvSpPr>
          <p:spPr>
            <a:xfrm rot="3720000">
              <a:off x="10805752" y="6092106"/>
              <a:ext cx="5038307" cy="523895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Овал 138"/>
            <p:cNvSpPr>
              <a:spLocks noChangeAspect="1"/>
            </p:cNvSpPr>
            <p:nvPr/>
          </p:nvSpPr>
          <p:spPr>
            <a:xfrm rot="3720000">
              <a:off x="10267307" y="5809414"/>
              <a:ext cx="5504820" cy="572404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" name="Овал 138"/>
            <p:cNvSpPr>
              <a:spLocks noChangeAspect="1"/>
            </p:cNvSpPr>
            <p:nvPr/>
          </p:nvSpPr>
          <p:spPr>
            <a:xfrm rot="3720000">
              <a:off x="9728863" y="5526721"/>
              <a:ext cx="5971328" cy="620913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7" name="Овал 138"/>
            <p:cNvSpPr>
              <a:spLocks noChangeAspect="1"/>
            </p:cNvSpPr>
            <p:nvPr/>
          </p:nvSpPr>
          <p:spPr>
            <a:xfrm rot="3720000">
              <a:off x="9190418" y="5244027"/>
              <a:ext cx="6437839" cy="669421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Овал 138"/>
            <p:cNvSpPr>
              <a:spLocks noChangeAspect="1"/>
            </p:cNvSpPr>
            <p:nvPr/>
          </p:nvSpPr>
          <p:spPr>
            <a:xfrm rot="3720000">
              <a:off x="8651976" y="4961337"/>
              <a:ext cx="6904349" cy="717930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9" name="Овал 138"/>
            <p:cNvSpPr>
              <a:spLocks noChangeAspect="1"/>
            </p:cNvSpPr>
            <p:nvPr/>
          </p:nvSpPr>
          <p:spPr>
            <a:xfrm rot="3720000">
              <a:off x="8113535" y="4678644"/>
              <a:ext cx="7370853" cy="766439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Овал 138"/>
            <p:cNvSpPr>
              <a:spLocks noChangeAspect="1"/>
            </p:cNvSpPr>
            <p:nvPr/>
          </p:nvSpPr>
          <p:spPr>
            <a:xfrm rot="3720000">
              <a:off x="7575089" y="4395952"/>
              <a:ext cx="7837366" cy="8149482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1" name="Овал 138"/>
            <p:cNvSpPr>
              <a:spLocks noChangeAspect="1"/>
            </p:cNvSpPr>
            <p:nvPr/>
          </p:nvSpPr>
          <p:spPr>
            <a:xfrm rot="3720000">
              <a:off x="7036647" y="4113259"/>
              <a:ext cx="8303873" cy="863457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2" name="Овал 138"/>
            <p:cNvSpPr>
              <a:spLocks noChangeAspect="1"/>
            </p:cNvSpPr>
            <p:nvPr/>
          </p:nvSpPr>
          <p:spPr>
            <a:xfrm rot="3720000">
              <a:off x="6498203" y="3830567"/>
              <a:ext cx="8770384" cy="911965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3" name="Овал 138"/>
            <p:cNvSpPr>
              <a:spLocks noChangeAspect="1"/>
            </p:cNvSpPr>
            <p:nvPr/>
          </p:nvSpPr>
          <p:spPr>
            <a:xfrm rot="3720000">
              <a:off x="5959757" y="3547874"/>
              <a:ext cx="9236895" cy="960474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4" name="Овал 138"/>
            <p:cNvSpPr>
              <a:spLocks noChangeAspect="1"/>
            </p:cNvSpPr>
            <p:nvPr/>
          </p:nvSpPr>
          <p:spPr>
            <a:xfrm rot="3720000">
              <a:off x="5421315" y="3265182"/>
              <a:ext cx="9703404" cy="1008983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5" name="Овал 138"/>
            <p:cNvSpPr>
              <a:spLocks noChangeAspect="1"/>
            </p:cNvSpPr>
            <p:nvPr/>
          </p:nvSpPr>
          <p:spPr>
            <a:xfrm rot="3720000">
              <a:off x="4882871" y="2982488"/>
              <a:ext cx="10169912" cy="1057492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6" name="Овал 138"/>
            <p:cNvSpPr>
              <a:spLocks noChangeAspect="1"/>
            </p:cNvSpPr>
            <p:nvPr/>
          </p:nvSpPr>
          <p:spPr>
            <a:xfrm rot="3720000">
              <a:off x="4344427" y="2699797"/>
              <a:ext cx="10636422" cy="11060012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7" name="Овал 138"/>
            <p:cNvSpPr>
              <a:spLocks noChangeAspect="1"/>
            </p:cNvSpPr>
            <p:nvPr/>
          </p:nvSpPr>
          <p:spPr>
            <a:xfrm rot="3720000">
              <a:off x="3805982" y="2417103"/>
              <a:ext cx="11102933" cy="1154510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8" name="Овал 138"/>
            <p:cNvSpPr>
              <a:spLocks noChangeAspect="1"/>
            </p:cNvSpPr>
            <p:nvPr/>
          </p:nvSpPr>
          <p:spPr>
            <a:xfrm rot="3720000">
              <a:off x="3267537" y="2134411"/>
              <a:ext cx="11569445" cy="1203018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9" name="Овал 138"/>
            <p:cNvSpPr>
              <a:spLocks noChangeAspect="1"/>
            </p:cNvSpPr>
            <p:nvPr/>
          </p:nvSpPr>
          <p:spPr>
            <a:xfrm rot="3720000">
              <a:off x="2729096" y="1851721"/>
              <a:ext cx="12035953" cy="125152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8000">
                    <a:schemeClr val="accent4">
                      <a:alpha val="24000"/>
                    </a:schemeClr>
                  </a:gs>
                  <a:gs pos="0">
                    <a:schemeClr val="accent2">
                      <a:lumMod val="69000"/>
                      <a:lumOff val="31000"/>
                      <a:alpha val="12000"/>
                    </a:schemeClr>
                  </a:gs>
                </a:gsLst>
                <a:lin ang="4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Текст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370567" y="246063"/>
            <a:ext cx="6942563" cy="1620837"/>
          </a:xfrm>
          <a:prstGeom prst="rect">
            <a:avLst/>
          </a:prstGeom>
        </p:spPr>
        <p:txBody>
          <a:bodyPr/>
          <a:lstStyle>
            <a:lvl1pPr>
              <a:defRPr sz="4400" b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  <a:lvl2pPr>
              <a:defRPr sz="4000">
                <a:latin typeface="Century Gothic" panose="020B0502020202020204" pitchFamily="34" charset="0"/>
              </a:defRPr>
            </a:lvl2pPr>
            <a:lvl3pPr>
              <a:defRPr sz="4000">
                <a:latin typeface="Century Gothic" panose="020B0502020202020204" pitchFamily="34" charset="0"/>
              </a:defRPr>
            </a:lvl3pPr>
            <a:lvl4pPr>
              <a:defRPr sz="4000">
                <a:latin typeface="Century Gothic" panose="020B0502020202020204" pitchFamily="34" charset="0"/>
              </a:defRPr>
            </a:lvl4pPr>
            <a:lvl5pPr>
              <a:defRPr sz="40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ru-RU" dirty="0" smtClean="0"/>
              <a:t>ЗАГОЛОВОК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2683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8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9327" y="321514"/>
            <a:ext cx="1436246" cy="529636"/>
          </a:xfrm>
          <a:prstGeom prst="rect">
            <a:avLst/>
          </a:prstGeom>
        </p:spPr>
      </p:pic>
      <p:sp>
        <p:nvSpPr>
          <p:cNvPr id="9" name="Овал 8"/>
          <p:cNvSpPr/>
          <p:nvPr userDrawn="1"/>
        </p:nvSpPr>
        <p:spPr>
          <a:xfrm>
            <a:off x="-3497214" y="2635637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8000">
                <a:schemeClr val="accent4">
                  <a:alpha val="17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10" name="Группа 9"/>
          <p:cNvGrpSpPr/>
          <p:nvPr userDrawn="1"/>
        </p:nvGrpSpPr>
        <p:grpSpPr>
          <a:xfrm rot="1261130" flipH="1">
            <a:off x="-3504146" y="-944443"/>
            <a:ext cx="16183022" cy="20867579"/>
            <a:chOff x="3244920" y="478824"/>
            <a:chExt cx="8598858" cy="11088000"/>
          </a:xfrm>
        </p:grpSpPr>
        <p:sp>
          <p:nvSpPr>
            <p:cNvPr id="11" name="Овал 138"/>
            <p:cNvSpPr>
              <a:spLocks noChangeAspect="1"/>
            </p:cNvSpPr>
            <p:nvPr/>
          </p:nvSpPr>
          <p:spPr>
            <a:xfrm>
              <a:off x="9107777" y="4258824"/>
              <a:ext cx="2736001" cy="35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2" name="Овал 138"/>
            <p:cNvSpPr>
              <a:spLocks noChangeAspect="1"/>
            </p:cNvSpPr>
            <p:nvPr/>
          </p:nvSpPr>
          <p:spPr>
            <a:xfrm>
              <a:off x="8828593" y="4078824"/>
              <a:ext cx="3015185" cy="38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3" name="Овал 138"/>
            <p:cNvSpPr>
              <a:spLocks noChangeAspect="1"/>
            </p:cNvSpPr>
            <p:nvPr/>
          </p:nvSpPr>
          <p:spPr>
            <a:xfrm>
              <a:off x="8549408" y="3898824"/>
              <a:ext cx="3294370" cy="42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Овал 138"/>
            <p:cNvSpPr>
              <a:spLocks noChangeAspect="1"/>
            </p:cNvSpPr>
            <p:nvPr/>
          </p:nvSpPr>
          <p:spPr>
            <a:xfrm>
              <a:off x="8270224" y="3718824"/>
              <a:ext cx="3573554" cy="46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Овал 138"/>
            <p:cNvSpPr>
              <a:spLocks noChangeAspect="1"/>
            </p:cNvSpPr>
            <p:nvPr/>
          </p:nvSpPr>
          <p:spPr>
            <a:xfrm>
              <a:off x="7991040" y="3538824"/>
              <a:ext cx="3852738" cy="49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" name="Овал 138"/>
            <p:cNvSpPr>
              <a:spLocks noChangeAspect="1"/>
            </p:cNvSpPr>
            <p:nvPr/>
          </p:nvSpPr>
          <p:spPr>
            <a:xfrm>
              <a:off x="7711856" y="3358824"/>
              <a:ext cx="4131922" cy="53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7" name="Овал 138"/>
            <p:cNvSpPr>
              <a:spLocks noChangeAspect="1"/>
            </p:cNvSpPr>
            <p:nvPr/>
          </p:nvSpPr>
          <p:spPr>
            <a:xfrm>
              <a:off x="7432676" y="3178824"/>
              <a:ext cx="4411102" cy="56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Овал 138"/>
            <p:cNvSpPr>
              <a:spLocks noChangeAspect="1"/>
            </p:cNvSpPr>
            <p:nvPr/>
          </p:nvSpPr>
          <p:spPr>
            <a:xfrm>
              <a:off x="7153491" y="2998824"/>
              <a:ext cx="4690287" cy="60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9" name="Овал 138"/>
            <p:cNvSpPr>
              <a:spLocks noChangeAspect="1"/>
            </p:cNvSpPr>
            <p:nvPr/>
          </p:nvSpPr>
          <p:spPr>
            <a:xfrm>
              <a:off x="6874308" y="2818824"/>
              <a:ext cx="4969470" cy="64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Овал 138"/>
            <p:cNvSpPr>
              <a:spLocks noChangeAspect="1"/>
            </p:cNvSpPr>
            <p:nvPr/>
          </p:nvSpPr>
          <p:spPr>
            <a:xfrm>
              <a:off x="6595124" y="2638824"/>
              <a:ext cx="5248654" cy="67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1" name="Овал 138"/>
            <p:cNvSpPr>
              <a:spLocks noChangeAspect="1"/>
            </p:cNvSpPr>
            <p:nvPr/>
          </p:nvSpPr>
          <p:spPr>
            <a:xfrm>
              <a:off x="6315941" y="2458824"/>
              <a:ext cx="5527837" cy="71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2" name="Овал 138"/>
            <p:cNvSpPr>
              <a:spLocks noChangeAspect="1"/>
            </p:cNvSpPr>
            <p:nvPr/>
          </p:nvSpPr>
          <p:spPr>
            <a:xfrm>
              <a:off x="6036757" y="2278824"/>
              <a:ext cx="5807021" cy="74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3" name="Овал 138"/>
            <p:cNvSpPr>
              <a:spLocks noChangeAspect="1"/>
            </p:cNvSpPr>
            <p:nvPr/>
          </p:nvSpPr>
          <p:spPr>
            <a:xfrm>
              <a:off x="5757573" y="2098824"/>
              <a:ext cx="6086205" cy="78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4" name="Овал 138"/>
            <p:cNvSpPr>
              <a:spLocks noChangeAspect="1"/>
            </p:cNvSpPr>
            <p:nvPr/>
          </p:nvSpPr>
          <p:spPr>
            <a:xfrm>
              <a:off x="5478390" y="1918824"/>
              <a:ext cx="6365388" cy="82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5" name="Овал 138"/>
            <p:cNvSpPr>
              <a:spLocks noChangeAspect="1"/>
            </p:cNvSpPr>
            <p:nvPr/>
          </p:nvSpPr>
          <p:spPr>
            <a:xfrm>
              <a:off x="5199206" y="1738824"/>
              <a:ext cx="6644572" cy="85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6" name="Овал 138"/>
            <p:cNvSpPr>
              <a:spLocks noChangeAspect="1"/>
            </p:cNvSpPr>
            <p:nvPr/>
          </p:nvSpPr>
          <p:spPr>
            <a:xfrm>
              <a:off x="4920022" y="1558824"/>
              <a:ext cx="6923756" cy="89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7" name="Овал 138"/>
            <p:cNvSpPr>
              <a:spLocks noChangeAspect="1"/>
            </p:cNvSpPr>
            <p:nvPr/>
          </p:nvSpPr>
          <p:spPr>
            <a:xfrm>
              <a:off x="4640838" y="1378824"/>
              <a:ext cx="7202940" cy="92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8" name="Овал 138"/>
            <p:cNvSpPr>
              <a:spLocks noChangeAspect="1"/>
            </p:cNvSpPr>
            <p:nvPr/>
          </p:nvSpPr>
          <p:spPr>
            <a:xfrm>
              <a:off x="4361655" y="1198824"/>
              <a:ext cx="7482123" cy="96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9" name="Овал 138"/>
            <p:cNvSpPr>
              <a:spLocks noChangeAspect="1"/>
            </p:cNvSpPr>
            <p:nvPr/>
          </p:nvSpPr>
          <p:spPr>
            <a:xfrm>
              <a:off x="4082471" y="1018824"/>
              <a:ext cx="7761307" cy="100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0" name="Овал 138"/>
            <p:cNvSpPr>
              <a:spLocks noChangeAspect="1"/>
            </p:cNvSpPr>
            <p:nvPr/>
          </p:nvSpPr>
          <p:spPr>
            <a:xfrm>
              <a:off x="3803287" y="838824"/>
              <a:ext cx="8040491" cy="103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1" name="Овал 138"/>
            <p:cNvSpPr>
              <a:spLocks noChangeAspect="1"/>
            </p:cNvSpPr>
            <p:nvPr/>
          </p:nvSpPr>
          <p:spPr>
            <a:xfrm>
              <a:off x="3524104" y="658824"/>
              <a:ext cx="8319674" cy="107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2" name="Овал 138"/>
            <p:cNvSpPr>
              <a:spLocks noChangeAspect="1"/>
            </p:cNvSpPr>
            <p:nvPr/>
          </p:nvSpPr>
          <p:spPr>
            <a:xfrm>
              <a:off x="3244920" y="478824"/>
              <a:ext cx="8598858" cy="110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33" name="Овал 32"/>
          <p:cNvSpPr/>
          <p:nvPr userDrawn="1"/>
        </p:nvSpPr>
        <p:spPr>
          <a:xfrm>
            <a:off x="9127942" y="3429747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2000">
                <a:schemeClr val="accent2">
                  <a:alpha val="44000"/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5" name="Текст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372183" y="358073"/>
            <a:ext cx="7240588" cy="7635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GPN_DIN Regular" panose="020B0504020202020204" pitchFamily="34" charset="-52"/>
                <a:cs typeface="+mn-cs"/>
              </a:rPr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2533997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7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 userDrawn="1"/>
        </p:nvSpPr>
        <p:spPr bwMode="auto">
          <a:xfrm>
            <a:off x="0" y="0"/>
            <a:ext cx="12200254" cy="418465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9" name="Овал 8"/>
          <p:cNvSpPr/>
          <p:nvPr userDrawn="1"/>
        </p:nvSpPr>
        <p:spPr>
          <a:xfrm>
            <a:off x="-2762372" y="4696332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8000">
                <a:schemeClr val="accent4">
                  <a:alpha val="17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  <a:effectLst>
            <a:softEdge rad="381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10" name="Группа 9"/>
          <p:cNvGrpSpPr/>
          <p:nvPr userDrawn="1"/>
        </p:nvGrpSpPr>
        <p:grpSpPr>
          <a:xfrm rot="1261130" flipH="1">
            <a:off x="-3504146" y="-944443"/>
            <a:ext cx="16183022" cy="20867579"/>
            <a:chOff x="3244920" y="478824"/>
            <a:chExt cx="8598858" cy="11088000"/>
          </a:xfrm>
        </p:grpSpPr>
        <p:sp>
          <p:nvSpPr>
            <p:cNvPr id="11" name="Овал 138"/>
            <p:cNvSpPr>
              <a:spLocks noChangeAspect="1"/>
            </p:cNvSpPr>
            <p:nvPr/>
          </p:nvSpPr>
          <p:spPr>
            <a:xfrm>
              <a:off x="9107777" y="4258824"/>
              <a:ext cx="2736001" cy="35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2" name="Овал 138"/>
            <p:cNvSpPr>
              <a:spLocks noChangeAspect="1"/>
            </p:cNvSpPr>
            <p:nvPr/>
          </p:nvSpPr>
          <p:spPr>
            <a:xfrm>
              <a:off x="8828593" y="4078824"/>
              <a:ext cx="3015185" cy="38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3" name="Овал 138"/>
            <p:cNvSpPr>
              <a:spLocks noChangeAspect="1"/>
            </p:cNvSpPr>
            <p:nvPr/>
          </p:nvSpPr>
          <p:spPr>
            <a:xfrm>
              <a:off x="8549408" y="3898824"/>
              <a:ext cx="3294370" cy="42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Овал 138"/>
            <p:cNvSpPr>
              <a:spLocks noChangeAspect="1"/>
            </p:cNvSpPr>
            <p:nvPr/>
          </p:nvSpPr>
          <p:spPr>
            <a:xfrm>
              <a:off x="8270224" y="3718824"/>
              <a:ext cx="3573554" cy="46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Овал 138"/>
            <p:cNvSpPr>
              <a:spLocks noChangeAspect="1"/>
            </p:cNvSpPr>
            <p:nvPr/>
          </p:nvSpPr>
          <p:spPr>
            <a:xfrm>
              <a:off x="7991040" y="3538824"/>
              <a:ext cx="3852738" cy="49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" name="Овал 138"/>
            <p:cNvSpPr>
              <a:spLocks noChangeAspect="1"/>
            </p:cNvSpPr>
            <p:nvPr/>
          </p:nvSpPr>
          <p:spPr>
            <a:xfrm>
              <a:off x="7711856" y="3358824"/>
              <a:ext cx="4131922" cy="53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7" name="Овал 138"/>
            <p:cNvSpPr>
              <a:spLocks noChangeAspect="1"/>
            </p:cNvSpPr>
            <p:nvPr/>
          </p:nvSpPr>
          <p:spPr>
            <a:xfrm>
              <a:off x="7432676" y="3178824"/>
              <a:ext cx="4411102" cy="56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Овал 138"/>
            <p:cNvSpPr>
              <a:spLocks noChangeAspect="1"/>
            </p:cNvSpPr>
            <p:nvPr/>
          </p:nvSpPr>
          <p:spPr>
            <a:xfrm>
              <a:off x="7153491" y="2998824"/>
              <a:ext cx="4690287" cy="60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9" name="Овал 138"/>
            <p:cNvSpPr>
              <a:spLocks noChangeAspect="1"/>
            </p:cNvSpPr>
            <p:nvPr/>
          </p:nvSpPr>
          <p:spPr>
            <a:xfrm>
              <a:off x="6874308" y="2818824"/>
              <a:ext cx="4969470" cy="64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Овал 138"/>
            <p:cNvSpPr>
              <a:spLocks noChangeAspect="1"/>
            </p:cNvSpPr>
            <p:nvPr/>
          </p:nvSpPr>
          <p:spPr>
            <a:xfrm>
              <a:off x="6595124" y="2638824"/>
              <a:ext cx="5248654" cy="67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1" name="Овал 138"/>
            <p:cNvSpPr>
              <a:spLocks noChangeAspect="1"/>
            </p:cNvSpPr>
            <p:nvPr/>
          </p:nvSpPr>
          <p:spPr>
            <a:xfrm>
              <a:off x="6315941" y="2458824"/>
              <a:ext cx="5527837" cy="71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2" name="Овал 138"/>
            <p:cNvSpPr>
              <a:spLocks noChangeAspect="1"/>
            </p:cNvSpPr>
            <p:nvPr/>
          </p:nvSpPr>
          <p:spPr>
            <a:xfrm>
              <a:off x="6036757" y="2278824"/>
              <a:ext cx="5807021" cy="74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3" name="Овал 138"/>
            <p:cNvSpPr>
              <a:spLocks noChangeAspect="1"/>
            </p:cNvSpPr>
            <p:nvPr/>
          </p:nvSpPr>
          <p:spPr>
            <a:xfrm>
              <a:off x="5757573" y="2098824"/>
              <a:ext cx="6086205" cy="78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4" name="Овал 138"/>
            <p:cNvSpPr>
              <a:spLocks noChangeAspect="1"/>
            </p:cNvSpPr>
            <p:nvPr/>
          </p:nvSpPr>
          <p:spPr>
            <a:xfrm>
              <a:off x="5478390" y="1918824"/>
              <a:ext cx="6365388" cy="82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5" name="Овал 138"/>
            <p:cNvSpPr>
              <a:spLocks noChangeAspect="1"/>
            </p:cNvSpPr>
            <p:nvPr/>
          </p:nvSpPr>
          <p:spPr>
            <a:xfrm>
              <a:off x="5199206" y="1738824"/>
              <a:ext cx="6644572" cy="85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6" name="Овал 138"/>
            <p:cNvSpPr>
              <a:spLocks noChangeAspect="1"/>
            </p:cNvSpPr>
            <p:nvPr/>
          </p:nvSpPr>
          <p:spPr>
            <a:xfrm>
              <a:off x="4920022" y="1558824"/>
              <a:ext cx="6923756" cy="89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7" name="Овал 138"/>
            <p:cNvSpPr>
              <a:spLocks noChangeAspect="1"/>
            </p:cNvSpPr>
            <p:nvPr/>
          </p:nvSpPr>
          <p:spPr>
            <a:xfrm>
              <a:off x="4640838" y="1378824"/>
              <a:ext cx="7202940" cy="92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8" name="Овал 138"/>
            <p:cNvSpPr>
              <a:spLocks noChangeAspect="1"/>
            </p:cNvSpPr>
            <p:nvPr/>
          </p:nvSpPr>
          <p:spPr>
            <a:xfrm>
              <a:off x="4361655" y="1198824"/>
              <a:ext cx="7482123" cy="96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9" name="Овал 138"/>
            <p:cNvSpPr>
              <a:spLocks noChangeAspect="1"/>
            </p:cNvSpPr>
            <p:nvPr/>
          </p:nvSpPr>
          <p:spPr>
            <a:xfrm>
              <a:off x="4082471" y="1018824"/>
              <a:ext cx="7761307" cy="100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0" name="Овал 138"/>
            <p:cNvSpPr>
              <a:spLocks noChangeAspect="1"/>
            </p:cNvSpPr>
            <p:nvPr/>
          </p:nvSpPr>
          <p:spPr>
            <a:xfrm>
              <a:off x="3803287" y="838824"/>
              <a:ext cx="8040491" cy="103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1" name="Овал 138"/>
            <p:cNvSpPr>
              <a:spLocks noChangeAspect="1"/>
            </p:cNvSpPr>
            <p:nvPr/>
          </p:nvSpPr>
          <p:spPr>
            <a:xfrm>
              <a:off x="3524104" y="658824"/>
              <a:ext cx="8319674" cy="107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2" name="Овал 138"/>
            <p:cNvSpPr>
              <a:spLocks noChangeAspect="1"/>
            </p:cNvSpPr>
            <p:nvPr/>
          </p:nvSpPr>
          <p:spPr>
            <a:xfrm>
              <a:off x="3244920" y="478824"/>
              <a:ext cx="8598858" cy="110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33" name="Овал 32"/>
          <p:cNvSpPr/>
          <p:nvPr userDrawn="1"/>
        </p:nvSpPr>
        <p:spPr>
          <a:xfrm>
            <a:off x="9015034" y="4184650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2000">
                <a:schemeClr val="accent2">
                  <a:alpha val="44000"/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  <a:effectLst>
            <a:softEdge rad="876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6" name="Текст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370567" y="246063"/>
            <a:ext cx="6942563" cy="1620837"/>
          </a:xfrm>
          <a:prstGeom prst="rect">
            <a:avLst/>
          </a:prstGeom>
        </p:spPr>
        <p:txBody>
          <a:bodyPr/>
          <a:lstStyle>
            <a:lvl1pPr>
              <a:defRPr sz="4400" b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  <a:lvl2pPr>
              <a:defRPr sz="4000">
                <a:latin typeface="Century Gothic" panose="020B0502020202020204" pitchFamily="34" charset="0"/>
              </a:defRPr>
            </a:lvl2pPr>
            <a:lvl3pPr>
              <a:defRPr sz="4000">
                <a:latin typeface="Century Gothic" panose="020B0502020202020204" pitchFamily="34" charset="0"/>
              </a:defRPr>
            </a:lvl3pPr>
            <a:lvl4pPr>
              <a:defRPr sz="4000">
                <a:latin typeface="Century Gothic" panose="020B0502020202020204" pitchFamily="34" charset="0"/>
              </a:defRPr>
            </a:lvl4pPr>
            <a:lvl5pPr>
              <a:defRPr sz="40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ru-RU" dirty="0" smtClean="0"/>
              <a:t>ЗАГОЛОВОК СЛАЙДА</a:t>
            </a:r>
            <a:endParaRPr lang="ru-RU" dirty="0"/>
          </a:p>
        </p:txBody>
      </p:sp>
      <p:pic>
        <p:nvPicPr>
          <p:cNvPr id="37" name="Рисунок 3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402302" y="309419"/>
            <a:ext cx="1440000" cy="53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836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9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 userDrawn="1"/>
        </p:nvSpPr>
        <p:spPr bwMode="auto">
          <a:xfrm>
            <a:off x="0" y="0"/>
            <a:ext cx="12200254" cy="4941888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9" name="Овал 8"/>
          <p:cNvSpPr/>
          <p:nvPr userDrawn="1"/>
        </p:nvSpPr>
        <p:spPr>
          <a:xfrm>
            <a:off x="-2762372" y="4696332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8000">
                <a:schemeClr val="accent4">
                  <a:alpha val="17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  <a:effectLst>
            <a:softEdge rad="381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10" name="Группа 9"/>
          <p:cNvGrpSpPr/>
          <p:nvPr userDrawn="1"/>
        </p:nvGrpSpPr>
        <p:grpSpPr>
          <a:xfrm rot="1261130" flipH="1">
            <a:off x="-3504146" y="-944443"/>
            <a:ext cx="16183022" cy="20867579"/>
            <a:chOff x="3244920" y="478824"/>
            <a:chExt cx="8598858" cy="11088000"/>
          </a:xfrm>
        </p:grpSpPr>
        <p:sp>
          <p:nvSpPr>
            <p:cNvPr id="11" name="Овал 138"/>
            <p:cNvSpPr>
              <a:spLocks noChangeAspect="1"/>
            </p:cNvSpPr>
            <p:nvPr/>
          </p:nvSpPr>
          <p:spPr>
            <a:xfrm>
              <a:off x="9107777" y="4258824"/>
              <a:ext cx="2736001" cy="35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2" name="Овал 138"/>
            <p:cNvSpPr>
              <a:spLocks noChangeAspect="1"/>
            </p:cNvSpPr>
            <p:nvPr/>
          </p:nvSpPr>
          <p:spPr>
            <a:xfrm>
              <a:off x="8828593" y="4078824"/>
              <a:ext cx="3015185" cy="38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3" name="Овал 138"/>
            <p:cNvSpPr>
              <a:spLocks noChangeAspect="1"/>
            </p:cNvSpPr>
            <p:nvPr/>
          </p:nvSpPr>
          <p:spPr>
            <a:xfrm>
              <a:off x="8549408" y="3898824"/>
              <a:ext cx="3294370" cy="42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Овал 138"/>
            <p:cNvSpPr>
              <a:spLocks noChangeAspect="1"/>
            </p:cNvSpPr>
            <p:nvPr/>
          </p:nvSpPr>
          <p:spPr>
            <a:xfrm>
              <a:off x="8270224" y="3718824"/>
              <a:ext cx="3573554" cy="46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Овал 138"/>
            <p:cNvSpPr>
              <a:spLocks noChangeAspect="1"/>
            </p:cNvSpPr>
            <p:nvPr/>
          </p:nvSpPr>
          <p:spPr>
            <a:xfrm>
              <a:off x="7991040" y="3538824"/>
              <a:ext cx="3852738" cy="49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" name="Овал 138"/>
            <p:cNvSpPr>
              <a:spLocks noChangeAspect="1"/>
            </p:cNvSpPr>
            <p:nvPr/>
          </p:nvSpPr>
          <p:spPr>
            <a:xfrm>
              <a:off x="7711856" y="3358824"/>
              <a:ext cx="4131922" cy="53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7" name="Овал 138"/>
            <p:cNvSpPr>
              <a:spLocks noChangeAspect="1"/>
            </p:cNvSpPr>
            <p:nvPr/>
          </p:nvSpPr>
          <p:spPr>
            <a:xfrm>
              <a:off x="7432676" y="3178824"/>
              <a:ext cx="4411102" cy="56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Овал 138"/>
            <p:cNvSpPr>
              <a:spLocks noChangeAspect="1"/>
            </p:cNvSpPr>
            <p:nvPr/>
          </p:nvSpPr>
          <p:spPr>
            <a:xfrm>
              <a:off x="7153491" y="2998824"/>
              <a:ext cx="4690287" cy="60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9" name="Овал 138"/>
            <p:cNvSpPr>
              <a:spLocks noChangeAspect="1"/>
            </p:cNvSpPr>
            <p:nvPr/>
          </p:nvSpPr>
          <p:spPr>
            <a:xfrm>
              <a:off x="6874308" y="2818824"/>
              <a:ext cx="4969470" cy="64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Овал 138"/>
            <p:cNvSpPr>
              <a:spLocks noChangeAspect="1"/>
            </p:cNvSpPr>
            <p:nvPr/>
          </p:nvSpPr>
          <p:spPr>
            <a:xfrm>
              <a:off x="6595124" y="2638824"/>
              <a:ext cx="5248654" cy="67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1" name="Овал 138"/>
            <p:cNvSpPr>
              <a:spLocks noChangeAspect="1"/>
            </p:cNvSpPr>
            <p:nvPr/>
          </p:nvSpPr>
          <p:spPr>
            <a:xfrm>
              <a:off x="6315941" y="2458824"/>
              <a:ext cx="5527837" cy="71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2" name="Овал 138"/>
            <p:cNvSpPr>
              <a:spLocks noChangeAspect="1"/>
            </p:cNvSpPr>
            <p:nvPr/>
          </p:nvSpPr>
          <p:spPr>
            <a:xfrm>
              <a:off x="6036757" y="2278824"/>
              <a:ext cx="5807021" cy="74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3" name="Овал 138"/>
            <p:cNvSpPr>
              <a:spLocks noChangeAspect="1"/>
            </p:cNvSpPr>
            <p:nvPr/>
          </p:nvSpPr>
          <p:spPr>
            <a:xfrm>
              <a:off x="5757573" y="2098824"/>
              <a:ext cx="6086205" cy="78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4" name="Овал 138"/>
            <p:cNvSpPr>
              <a:spLocks noChangeAspect="1"/>
            </p:cNvSpPr>
            <p:nvPr/>
          </p:nvSpPr>
          <p:spPr>
            <a:xfrm>
              <a:off x="5478390" y="1918824"/>
              <a:ext cx="6365388" cy="82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5" name="Овал 138"/>
            <p:cNvSpPr>
              <a:spLocks noChangeAspect="1"/>
            </p:cNvSpPr>
            <p:nvPr/>
          </p:nvSpPr>
          <p:spPr>
            <a:xfrm>
              <a:off x="5199206" y="1738824"/>
              <a:ext cx="6644572" cy="85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6" name="Овал 138"/>
            <p:cNvSpPr>
              <a:spLocks noChangeAspect="1"/>
            </p:cNvSpPr>
            <p:nvPr/>
          </p:nvSpPr>
          <p:spPr>
            <a:xfrm>
              <a:off x="4920022" y="1558824"/>
              <a:ext cx="6923756" cy="89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7" name="Овал 138"/>
            <p:cNvSpPr>
              <a:spLocks noChangeAspect="1"/>
            </p:cNvSpPr>
            <p:nvPr/>
          </p:nvSpPr>
          <p:spPr>
            <a:xfrm>
              <a:off x="4640838" y="1378824"/>
              <a:ext cx="7202940" cy="92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8" name="Овал 138"/>
            <p:cNvSpPr>
              <a:spLocks noChangeAspect="1"/>
            </p:cNvSpPr>
            <p:nvPr/>
          </p:nvSpPr>
          <p:spPr>
            <a:xfrm>
              <a:off x="4361655" y="1198824"/>
              <a:ext cx="7482123" cy="96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9" name="Овал 138"/>
            <p:cNvSpPr>
              <a:spLocks noChangeAspect="1"/>
            </p:cNvSpPr>
            <p:nvPr/>
          </p:nvSpPr>
          <p:spPr>
            <a:xfrm>
              <a:off x="4082471" y="1018824"/>
              <a:ext cx="7761307" cy="100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0" name="Овал 138"/>
            <p:cNvSpPr>
              <a:spLocks noChangeAspect="1"/>
            </p:cNvSpPr>
            <p:nvPr/>
          </p:nvSpPr>
          <p:spPr>
            <a:xfrm>
              <a:off x="3803287" y="838824"/>
              <a:ext cx="8040491" cy="103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1" name="Овал 138"/>
            <p:cNvSpPr>
              <a:spLocks noChangeAspect="1"/>
            </p:cNvSpPr>
            <p:nvPr/>
          </p:nvSpPr>
          <p:spPr>
            <a:xfrm>
              <a:off x="3524104" y="658824"/>
              <a:ext cx="8319674" cy="107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2" name="Овал 138"/>
            <p:cNvSpPr>
              <a:spLocks noChangeAspect="1"/>
            </p:cNvSpPr>
            <p:nvPr/>
          </p:nvSpPr>
          <p:spPr>
            <a:xfrm>
              <a:off x="3244920" y="478824"/>
              <a:ext cx="8598858" cy="110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33" name="Овал 32"/>
          <p:cNvSpPr/>
          <p:nvPr userDrawn="1"/>
        </p:nvSpPr>
        <p:spPr>
          <a:xfrm>
            <a:off x="9015034" y="4184650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2000">
                <a:schemeClr val="accent2">
                  <a:alpha val="44000"/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  <a:effectLst>
            <a:softEdge rad="876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6" name="Текст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370567" y="246063"/>
            <a:ext cx="6942563" cy="1620837"/>
          </a:xfrm>
          <a:prstGeom prst="rect">
            <a:avLst/>
          </a:prstGeom>
        </p:spPr>
        <p:txBody>
          <a:bodyPr/>
          <a:lstStyle>
            <a:lvl1pPr>
              <a:defRPr sz="4400" b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  <a:lvl2pPr>
              <a:defRPr sz="4000">
                <a:latin typeface="Century Gothic" panose="020B0502020202020204" pitchFamily="34" charset="0"/>
              </a:defRPr>
            </a:lvl2pPr>
            <a:lvl3pPr>
              <a:defRPr sz="4000">
                <a:latin typeface="Century Gothic" panose="020B0502020202020204" pitchFamily="34" charset="0"/>
              </a:defRPr>
            </a:lvl3pPr>
            <a:lvl4pPr>
              <a:defRPr sz="4000">
                <a:latin typeface="Century Gothic" panose="020B0502020202020204" pitchFamily="34" charset="0"/>
              </a:defRPr>
            </a:lvl4pPr>
            <a:lvl5pPr>
              <a:defRPr sz="40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ru-RU" dirty="0" smtClean="0"/>
              <a:t>ЗАГОЛОВОК СЛАЙДА</a:t>
            </a:r>
            <a:endParaRPr lang="ru-RU" dirty="0"/>
          </a:p>
        </p:txBody>
      </p:sp>
      <p:pic>
        <p:nvPicPr>
          <p:cNvPr id="37" name="Рисунок 3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402302" y="309419"/>
            <a:ext cx="1440000" cy="53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445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0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Овал 8"/>
          <p:cNvSpPr/>
          <p:nvPr userDrawn="1"/>
        </p:nvSpPr>
        <p:spPr>
          <a:xfrm>
            <a:off x="8955530" y="-1782418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2000">
                <a:schemeClr val="accent2">
                  <a:alpha val="44000"/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 userDrawn="1"/>
        </p:nvSpPr>
        <p:spPr>
          <a:xfrm>
            <a:off x="-3889276" y="2805480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8000">
                <a:schemeClr val="accent4">
                  <a:alpha val="17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11" name="Группа 10"/>
          <p:cNvGrpSpPr/>
          <p:nvPr userDrawn="1"/>
        </p:nvGrpSpPr>
        <p:grpSpPr>
          <a:xfrm rot="14752717">
            <a:off x="2012124" y="814840"/>
            <a:ext cx="10443197" cy="11411711"/>
            <a:chOff x="922157" y="-1183570"/>
            <a:chExt cx="10443197" cy="11411711"/>
          </a:xfrm>
        </p:grpSpPr>
        <p:sp>
          <p:nvSpPr>
            <p:cNvPr id="12" name="Овал 138"/>
            <p:cNvSpPr>
              <a:spLocks noChangeAspect="1"/>
            </p:cNvSpPr>
            <p:nvPr/>
          </p:nvSpPr>
          <p:spPr>
            <a:xfrm rot="3473911">
              <a:off x="4545968" y="6968937"/>
              <a:ext cx="3195574" cy="332283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3" name="Овал 138"/>
            <p:cNvSpPr>
              <a:spLocks noChangeAspect="1"/>
            </p:cNvSpPr>
            <p:nvPr/>
          </p:nvSpPr>
          <p:spPr>
            <a:xfrm rot="3473911">
              <a:off x="4382928" y="6571197"/>
              <a:ext cx="3521654" cy="366190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Овал 138"/>
            <p:cNvSpPr>
              <a:spLocks noChangeAspect="1"/>
            </p:cNvSpPr>
            <p:nvPr/>
          </p:nvSpPr>
          <p:spPr>
            <a:xfrm rot="3473911">
              <a:off x="4219888" y="6173460"/>
              <a:ext cx="3847735" cy="400096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Овал 138"/>
            <p:cNvSpPr>
              <a:spLocks noChangeAspect="1"/>
            </p:cNvSpPr>
            <p:nvPr/>
          </p:nvSpPr>
          <p:spPr>
            <a:xfrm rot="3473911">
              <a:off x="4056849" y="5775722"/>
              <a:ext cx="4173813" cy="434003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" name="Овал 138"/>
            <p:cNvSpPr>
              <a:spLocks noChangeAspect="1"/>
            </p:cNvSpPr>
            <p:nvPr/>
          </p:nvSpPr>
          <p:spPr>
            <a:xfrm rot="3473911">
              <a:off x="3893809" y="5377984"/>
              <a:ext cx="4499893" cy="467909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7" name="Овал 138"/>
            <p:cNvSpPr>
              <a:spLocks noChangeAspect="1"/>
            </p:cNvSpPr>
            <p:nvPr/>
          </p:nvSpPr>
          <p:spPr>
            <a:xfrm rot="3473911">
              <a:off x="3730769" y="4980248"/>
              <a:ext cx="4825972" cy="501815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Овал 138"/>
            <p:cNvSpPr>
              <a:spLocks noChangeAspect="1"/>
            </p:cNvSpPr>
            <p:nvPr/>
          </p:nvSpPr>
          <p:spPr>
            <a:xfrm rot="3473911">
              <a:off x="3567732" y="4582512"/>
              <a:ext cx="5152047" cy="535722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9" name="Овал 138"/>
            <p:cNvSpPr>
              <a:spLocks noChangeAspect="1"/>
            </p:cNvSpPr>
            <p:nvPr/>
          </p:nvSpPr>
          <p:spPr>
            <a:xfrm rot="3473911">
              <a:off x="3404691" y="4184773"/>
              <a:ext cx="5478128" cy="569628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Овал 138"/>
            <p:cNvSpPr>
              <a:spLocks noChangeAspect="1"/>
            </p:cNvSpPr>
            <p:nvPr/>
          </p:nvSpPr>
          <p:spPr>
            <a:xfrm rot="3473911">
              <a:off x="3241653" y="3787036"/>
              <a:ext cx="5804205" cy="603535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1" name="Овал 138"/>
            <p:cNvSpPr>
              <a:spLocks noChangeAspect="1"/>
            </p:cNvSpPr>
            <p:nvPr/>
          </p:nvSpPr>
          <p:spPr>
            <a:xfrm rot="3473911">
              <a:off x="3078613" y="3389299"/>
              <a:ext cx="6130285" cy="637441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2" name="Овал 138"/>
            <p:cNvSpPr>
              <a:spLocks noChangeAspect="1"/>
            </p:cNvSpPr>
            <p:nvPr/>
          </p:nvSpPr>
          <p:spPr>
            <a:xfrm rot="3473911">
              <a:off x="2915573" y="2991560"/>
              <a:ext cx="6456365" cy="671348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3" name="Овал 138"/>
            <p:cNvSpPr>
              <a:spLocks noChangeAspect="1"/>
            </p:cNvSpPr>
            <p:nvPr/>
          </p:nvSpPr>
          <p:spPr>
            <a:xfrm rot="3473911">
              <a:off x="2752534" y="2593824"/>
              <a:ext cx="6782443" cy="705254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4" name="Овал 138"/>
            <p:cNvSpPr>
              <a:spLocks noChangeAspect="1"/>
            </p:cNvSpPr>
            <p:nvPr/>
          </p:nvSpPr>
          <p:spPr>
            <a:xfrm rot="3473911">
              <a:off x="2589495" y="2196086"/>
              <a:ext cx="7108521" cy="739161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5" name="Овал 138"/>
            <p:cNvSpPr>
              <a:spLocks noChangeAspect="1"/>
            </p:cNvSpPr>
            <p:nvPr/>
          </p:nvSpPr>
          <p:spPr>
            <a:xfrm rot="3473911">
              <a:off x="2426455" y="1798348"/>
              <a:ext cx="7434600" cy="773067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6" name="Овал 138"/>
            <p:cNvSpPr>
              <a:spLocks noChangeAspect="1"/>
            </p:cNvSpPr>
            <p:nvPr/>
          </p:nvSpPr>
          <p:spPr>
            <a:xfrm rot="3473911">
              <a:off x="2263415" y="1400610"/>
              <a:ext cx="7760680" cy="806974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7" name="Овал 138"/>
            <p:cNvSpPr>
              <a:spLocks noChangeAspect="1"/>
            </p:cNvSpPr>
            <p:nvPr/>
          </p:nvSpPr>
          <p:spPr>
            <a:xfrm rot="3473911">
              <a:off x="2100375" y="1002873"/>
              <a:ext cx="8086760" cy="840880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8" name="Овал 138"/>
            <p:cNvSpPr>
              <a:spLocks noChangeAspect="1"/>
            </p:cNvSpPr>
            <p:nvPr/>
          </p:nvSpPr>
          <p:spPr>
            <a:xfrm rot="3473911">
              <a:off x="1937336" y="605137"/>
              <a:ext cx="8412838" cy="874787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9" name="Овал 138"/>
            <p:cNvSpPr>
              <a:spLocks noChangeAspect="1"/>
            </p:cNvSpPr>
            <p:nvPr/>
          </p:nvSpPr>
          <p:spPr>
            <a:xfrm rot="3473911">
              <a:off x="1774297" y="207398"/>
              <a:ext cx="8738916" cy="908693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0" name="Овал 138"/>
            <p:cNvSpPr>
              <a:spLocks noChangeAspect="1"/>
            </p:cNvSpPr>
            <p:nvPr/>
          </p:nvSpPr>
          <p:spPr>
            <a:xfrm rot="3473911">
              <a:off x="1611258" y="-190338"/>
              <a:ext cx="9064995" cy="942600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1" name="Овал 138"/>
            <p:cNvSpPr>
              <a:spLocks noChangeAspect="1"/>
            </p:cNvSpPr>
            <p:nvPr/>
          </p:nvSpPr>
          <p:spPr>
            <a:xfrm rot="3473911">
              <a:off x="1448217" y="-588077"/>
              <a:ext cx="9391076" cy="976506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2" name="Овал 138"/>
            <p:cNvSpPr>
              <a:spLocks noChangeAspect="1"/>
            </p:cNvSpPr>
            <p:nvPr/>
          </p:nvSpPr>
          <p:spPr>
            <a:xfrm rot="3473911">
              <a:off x="1285178" y="-985813"/>
              <a:ext cx="9717154" cy="1010413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Овал 138"/>
            <p:cNvSpPr>
              <a:spLocks noChangeAspect="1"/>
            </p:cNvSpPr>
            <p:nvPr/>
          </p:nvSpPr>
          <p:spPr>
            <a:xfrm rot="3473911">
              <a:off x="1122139" y="-1383552"/>
              <a:ext cx="10043233" cy="1044319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chemeClr val="accent4">
                      <a:alpha val="38000"/>
                    </a:schemeClr>
                  </a:gs>
                  <a:gs pos="0">
                    <a:schemeClr val="accent2">
                      <a:alpha val="61000"/>
                    </a:schemeClr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Рисунок 2"/>
          <p:cNvSpPr>
            <a:spLocks noGrp="1"/>
          </p:cNvSpPr>
          <p:nvPr>
            <p:ph type="pic" sz="quarter" idx="11"/>
          </p:nvPr>
        </p:nvSpPr>
        <p:spPr>
          <a:xfrm>
            <a:off x="7032625" y="404813"/>
            <a:ext cx="4679950" cy="60483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36" name="Текст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372183" y="358073"/>
            <a:ext cx="5723817" cy="7635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GPN_DIN Regular" panose="020B0504020202020204" pitchFamily="34" charset="-52"/>
                <a:cs typeface="+mn-cs"/>
              </a:rPr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1550855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1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34" name="Группа 33"/>
          <p:cNvGrpSpPr/>
          <p:nvPr userDrawn="1"/>
        </p:nvGrpSpPr>
        <p:grpSpPr>
          <a:xfrm rot="3836148" flipH="1">
            <a:off x="-5392283" y="2560303"/>
            <a:ext cx="9768289" cy="9394172"/>
            <a:chOff x="2560375" y="-143183"/>
            <a:chExt cx="8334473" cy="7599850"/>
          </a:xfrm>
        </p:grpSpPr>
        <p:sp>
          <p:nvSpPr>
            <p:cNvPr id="43" name="Овал 138"/>
            <p:cNvSpPr>
              <a:spLocks noChangeAspect="1"/>
            </p:cNvSpPr>
            <p:nvPr/>
          </p:nvSpPr>
          <p:spPr>
            <a:xfrm rot="7568874">
              <a:off x="5518545" y="2330803"/>
              <a:ext cx="2418134" cy="265187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4" name="Овал 138"/>
            <p:cNvSpPr>
              <a:spLocks noChangeAspect="1"/>
            </p:cNvSpPr>
            <p:nvPr/>
          </p:nvSpPr>
          <p:spPr>
            <a:xfrm rot="7568874">
              <a:off x="5395170" y="2195502"/>
              <a:ext cx="2664884" cy="292247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5" name="Овал 138"/>
            <p:cNvSpPr>
              <a:spLocks noChangeAspect="1"/>
            </p:cNvSpPr>
            <p:nvPr/>
          </p:nvSpPr>
          <p:spPr>
            <a:xfrm rot="7568874">
              <a:off x="5271796" y="2060203"/>
              <a:ext cx="2911633" cy="319307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6" name="Овал 138"/>
            <p:cNvSpPr>
              <a:spLocks noChangeAspect="1"/>
            </p:cNvSpPr>
            <p:nvPr/>
          </p:nvSpPr>
          <p:spPr>
            <a:xfrm rot="7568874">
              <a:off x="5148422" y="1924902"/>
              <a:ext cx="3158381" cy="346367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7" name="Овал 138"/>
            <p:cNvSpPr>
              <a:spLocks noChangeAspect="1"/>
            </p:cNvSpPr>
            <p:nvPr/>
          </p:nvSpPr>
          <p:spPr>
            <a:xfrm rot="7568874">
              <a:off x="5025047" y="1789602"/>
              <a:ext cx="3405130" cy="373427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8" name="Овал 138"/>
            <p:cNvSpPr>
              <a:spLocks noChangeAspect="1"/>
            </p:cNvSpPr>
            <p:nvPr/>
          </p:nvSpPr>
          <p:spPr>
            <a:xfrm rot="7568874">
              <a:off x="4901673" y="1654303"/>
              <a:ext cx="3651879" cy="40048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9" name="Овал 138"/>
            <p:cNvSpPr>
              <a:spLocks noChangeAspect="1"/>
            </p:cNvSpPr>
            <p:nvPr/>
          </p:nvSpPr>
          <p:spPr>
            <a:xfrm rot="7568874">
              <a:off x="4778300" y="1519003"/>
              <a:ext cx="3898624" cy="42754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0" name="Овал 138"/>
            <p:cNvSpPr>
              <a:spLocks noChangeAspect="1"/>
            </p:cNvSpPr>
            <p:nvPr/>
          </p:nvSpPr>
          <p:spPr>
            <a:xfrm rot="7568874">
              <a:off x="4654925" y="1383703"/>
              <a:ext cx="4145374" cy="45460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1" name="Овал 138"/>
            <p:cNvSpPr>
              <a:spLocks noChangeAspect="1"/>
            </p:cNvSpPr>
            <p:nvPr/>
          </p:nvSpPr>
          <p:spPr>
            <a:xfrm rot="7568874">
              <a:off x="4531552" y="1248403"/>
              <a:ext cx="4392120" cy="48166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2" name="Овал 138"/>
            <p:cNvSpPr>
              <a:spLocks noChangeAspect="1"/>
            </p:cNvSpPr>
            <p:nvPr/>
          </p:nvSpPr>
          <p:spPr>
            <a:xfrm rot="7568874">
              <a:off x="4408177" y="1113104"/>
              <a:ext cx="4638870" cy="50872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3" name="Овал 138"/>
            <p:cNvSpPr>
              <a:spLocks noChangeAspect="1"/>
            </p:cNvSpPr>
            <p:nvPr/>
          </p:nvSpPr>
          <p:spPr>
            <a:xfrm rot="7568874">
              <a:off x="4284803" y="977803"/>
              <a:ext cx="4885618" cy="53578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4" name="Овал 138"/>
            <p:cNvSpPr>
              <a:spLocks noChangeAspect="1"/>
            </p:cNvSpPr>
            <p:nvPr/>
          </p:nvSpPr>
          <p:spPr>
            <a:xfrm rot="7568874">
              <a:off x="4161429" y="842504"/>
              <a:ext cx="5132366" cy="56284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5" name="Овал 138"/>
            <p:cNvSpPr>
              <a:spLocks noChangeAspect="1"/>
            </p:cNvSpPr>
            <p:nvPr/>
          </p:nvSpPr>
          <p:spPr>
            <a:xfrm rot="7568874">
              <a:off x="4038055" y="707204"/>
              <a:ext cx="5379115" cy="58990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6" name="Овал 138"/>
            <p:cNvSpPr>
              <a:spLocks noChangeAspect="1"/>
            </p:cNvSpPr>
            <p:nvPr/>
          </p:nvSpPr>
          <p:spPr>
            <a:xfrm rot="7568874">
              <a:off x="3914681" y="571903"/>
              <a:ext cx="5625862" cy="61696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7" name="Овал 138"/>
            <p:cNvSpPr>
              <a:spLocks noChangeAspect="1"/>
            </p:cNvSpPr>
            <p:nvPr/>
          </p:nvSpPr>
          <p:spPr>
            <a:xfrm rot="7568874">
              <a:off x="3791306" y="436604"/>
              <a:ext cx="5872612" cy="64402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8" name="Овал 138"/>
            <p:cNvSpPr>
              <a:spLocks noChangeAspect="1"/>
            </p:cNvSpPr>
            <p:nvPr/>
          </p:nvSpPr>
          <p:spPr>
            <a:xfrm rot="7568874">
              <a:off x="3667932" y="301304"/>
              <a:ext cx="6119360" cy="67108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9" name="Овал 138"/>
            <p:cNvSpPr>
              <a:spLocks noChangeAspect="1"/>
            </p:cNvSpPr>
            <p:nvPr/>
          </p:nvSpPr>
          <p:spPr>
            <a:xfrm rot="7568874">
              <a:off x="3544558" y="166005"/>
              <a:ext cx="6366108" cy="69814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0" name="Овал 138"/>
            <p:cNvSpPr>
              <a:spLocks noChangeAspect="1"/>
            </p:cNvSpPr>
            <p:nvPr/>
          </p:nvSpPr>
          <p:spPr>
            <a:xfrm rot="7568874">
              <a:off x="3421184" y="30704"/>
              <a:ext cx="6612857" cy="725207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1" name="Овал 138"/>
            <p:cNvSpPr>
              <a:spLocks noChangeAspect="1"/>
            </p:cNvSpPr>
            <p:nvPr/>
          </p:nvSpPr>
          <p:spPr>
            <a:xfrm rot="7568874">
              <a:off x="3297810" y="-104595"/>
              <a:ext cx="6859604" cy="75226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2" name="Овал 138"/>
            <p:cNvSpPr>
              <a:spLocks noChangeAspect="1"/>
            </p:cNvSpPr>
            <p:nvPr/>
          </p:nvSpPr>
          <p:spPr>
            <a:xfrm rot="7568874">
              <a:off x="3174435" y="-239895"/>
              <a:ext cx="7106354" cy="77932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3" name="Овал 138"/>
            <p:cNvSpPr>
              <a:spLocks noChangeAspect="1"/>
            </p:cNvSpPr>
            <p:nvPr/>
          </p:nvSpPr>
          <p:spPr>
            <a:xfrm rot="7568874">
              <a:off x="3051061" y="-375195"/>
              <a:ext cx="7353102" cy="80638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4" name="Овал 138"/>
            <p:cNvSpPr>
              <a:spLocks noChangeAspect="1"/>
            </p:cNvSpPr>
            <p:nvPr/>
          </p:nvSpPr>
          <p:spPr>
            <a:xfrm rot="7568874">
              <a:off x="2927687" y="-510495"/>
              <a:ext cx="7599850" cy="83344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83" name="Овал 82"/>
          <p:cNvSpPr/>
          <p:nvPr userDrawn="1"/>
        </p:nvSpPr>
        <p:spPr>
          <a:xfrm>
            <a:off x="-1014416" y="3564430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8000">
                <a:schemeClr val="accent4">
                  <a:alpha val="17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1"/>
          </p:nvPr>
        </p:nvSpPr>
        <p:spPr>
          <a:xfrm>
            <a:off x="6096000" y="1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7" name="Текст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372183" y="358073"/>
            <a:ext cx="5281131" cy="7635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GPN_DIN Regular" panose="020B0504020202020204" pitchFamily="34" charset="-52"/>
                <a:cs typeface="+mn-cs"/>
              </a:rPr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2215838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Разделитель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Овал 1"/>
          <p:cNvSpPr/>
          <p:nvPr userDrawn="1"/>
        </p:nvSpPr>
        <p:spPr>
          <a:xfrm>
            <a:off x="7720655" y="3223146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2000">
                <a:schemeClr val="accent2">
                  <a:alpha val="44000"/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" name="Овал 2"/>
          <p:cNvSpPr/>
          <p:nvPr userDrawn="1"/>
        </p:nvSpPr>
        <p:spPr>
          <a:xfrm>
            <a:off x="-4902447" y="234774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8000">
                <a:schemeClr val="accent4">
                  <a:alpha val="17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9327" y="321514"/>
            <a:ext cx="1436246" cy="529636"/>
          </a:xfrm>
          <a:prstGeom prst="rect">
            <a:avLst/>
          </a:prstGeom>
        </p:spPr>
      </p:pic>
      <p:grpSp>
        <p:nvGrpSpPr>
          <p:cNvPr id="43" name="Группа 42"/>
          <p:cNvGrpSpPr/>
          <p:nvPr userDrawn="1"/>
        </p:nvGrpSpPr>
        <p:grpSpPr>
          <a:xfrm rot="21158244">
            <a:off x="-9442929" y="-4205491"/>
            <a:ext cx="22328524" cy="24486862"/>
            <a:chOff x="3244920" y="478824"/>
            <a:chExt cx="8598858" cy="11088000"/>
          </a:xfrm>
        </p:grpSpPr>
        <p:sp>
          <p:nvSpPr>
            <p:cNvPr id="44" name="Овал 138"/>
            <p:cNvSpPr>
              <a:spLocks noChangeAspect="1"/>
            </p:cNvSpPr>
            <p:nvPr/>
          </p:nvSpPr>
          <p:spPr>
            <a:xfrm>
              <a:off x="9107777" y="4258824"/>
              <a:ext cx="2736001" cy="35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5" name="Овал 138"/>
            <p:cNvSpPr>
              <a:spLocks noChangeAspect="1"/>
            </p:cNvSpPr>
            <p:nvPr/>
          </p:nvSpPr>
          <p:spPr>
            <a:xfrm>
              <a:off x="8828593" y="4078824"/>
              <a:ext cx="3015185" cy="38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6" name="Овал 138"/>
            <p:cNvSpPr>
              <a:spLocks noChangeAspect="1"/>
            </p:cNvSpPr>
            <p:nvPr/>
          </p:nvSpPr>
          <p:spPr>
            <a:xfrm>
              <a:off x="8549408" y="3898824"/>
              <a:ext cx="3294370" cy="42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7" name="Овал 138"/>
            <p:cNvSpPr>
              <a:spLocks noChangeAspect="1"/>
            </p:cNvSpPr>
            <p:nvPr/>
          </p:nvSpPr>
          <p:spPr>
            <a:xfrm>
              <a:off x="8270224" y="3718824"/>
              <a:ext cx="3573554" cy="46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8" name="Овал 138"/>
            <p:cNvSpPr>
              <a:spLocks noChangeAspect="1"/>
            </p:cNvSpPr>
            <p:nvPr/>
          </p:nvSpPr>
          <p:spPr>
            <a:xfrm>
              <a:off x="7991040" y="3538824"/>
              <a:ext cx="3852738" cy="49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9" name="Овал 138"/>
            <p:cNvSpPr>
              <a:spLocks noChangeAspect="1"/>
            </p:cNvSpPr>
            <p:nvPr/>
          </p:nvSpPr>
          <p:spPr>
            <a:xfrm>
              <a:off x="7711856" y="3358824"/>
              <a:ext cx="4131922" cy="53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0" name="Овал 138"/>
            <p:cNvSpPr>
              <a:spLocks noChangeAspect="1"/>
            </p:cNvSpPr>
            <p:nvPr/>
          </p:nvSpPr>
          <p:spPr>
            <a:xfrm>
              <a:off x="7432676" y="3178824"/>
              <a:ext cx="4411102" cy="56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1" name="Овал 138"/>
            <p:cNvSpPr>
              <a:spLocks noChangeAspect="1"/>
            </p:cNvSpPr>
            <p:nvPr/>
          </p:nvSpPr>
          <p:spPr>
            <a:xfrm>
              <a:off x="7153491" y="2998824"/>
              <a:ext cx="4690287" cy="60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2" name="Овал 138"/>
            <p:cNvSpPr>
              <a:spLocks noChangeAspect="1"/>
            </p:cNvSpPr>
            <p:nvPr/>
          </p:nvSpPr>
          <p:spPr>
            <a:xfrm>
              <a:off x="6874308" y="2818824"/>
              <a:ext cx="4969470" cy="64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3" name="Овал 138"/>
            <p:cNvSpPr>
              <a:spLocks noChangeAspect="1"/>
            </p:cNvSpPr>
            <p:nvPr/>
          </p:nvSpPr>
          <p:spPr>
            <a:xfrm>
              <a:off x="6595124" y="2638824"/>
              <a:ext cx="5248654" cy="67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4" name="Овал 138"/>
            <p:cNvSpPr>
              <a:spLocks noChangeAspect="1"/>
            </p:cNvSpPr>
            <p:nvPr/>
          </p:nvSpPr>
          <p:spPr>
            <a:xfrm>
              <a:off x="6315941" y="2458824"/>
              <a:ext cx="5527837" cy="71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5" name="Овал 138"/>
            <p:cNvSpPr>
              <a:spLocks noChangeAspect="1"/>
            </p:cNvSpPr>
            <p:nvPr/>
          </p:nvSpPr>
          <p:spPr>
            <a:xfrm>
              <a:off x="6036757" y="2278824"/>
              <a:ext cx="5807021" cy="74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6" name="Овал 138"/>
            <p:cNvSpPr>
              <a:spLocks noChangeAspect="1"/>
            </p:cNvSpPr>
            <p:nvPr/>
          </p:nvSpPr>
          <p:spPr>
            <a:xfrm>
              <a:off x="5757573" y="2098824"/>
              <a:ext cx="6086205" cy="78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7" name="Овал 138"/>
            <p:cNvSpPr>
              <a:spLocks noChangeAspect="1"/>
            </p:cNvSpPr>
            <p:nvPr/>
          </p:nvSpPr>
          <p:spPr>
            <a:xfrm>
              <a:off x="5478390" y="1918824"/>
              <a:ext cx="6365388" cy="82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8" name="Овал 138"/>
            <p:cNvSpPr>
              <a:spLocks noChangeAspect="1"/>
            </p:cNvSpPr>
            <p:nvPr/>
          </p:nvSpPr>
          <p:spPr>
            <a:xfrm>
              <a:off x="5199206" y="1738824"/>
              <a:ext cx="6644572" cy="85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9" name="Овал 138"/>
            <p:cNvSpPr>
              <a:spLocks noChangeAspect="1"/>
            </p:cNvSpPr>
            <p:nvPr/>
          </p:nvSpPr>
          <p:spPr>
            <a:xfrm>
              <a:off x="4920022" y="1558824"/>
              <a:ext cx="6923756" cy="89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0" name="Овал 138"/>
            <p:cNvSpPr>
              <a:spLocks noChangeAspect="1"/>
            </p:cNvSpPr>
            <p:nvPr/>
          </p:nvSpPr>
          <p:spPr>
            <a:xfrm>
              <a:off x="4640838" y="1378824"/>
              <a:ext cx="7202940" cy="92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1" name="Овал 138"/>
            <p:cNvSpPr>
              <a:spLocks noChangeAspect="1"/>
            </p:cNvSpPr>
            <p:nvPr/>
          </p:nvSpPr>
          <p:spPr>
            <a:xfrm>
              <a:off x="4361655" y="1198824"/>
              <a:ext cx="7482123" cy="96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2" name="Овал 138"/>
            <p:cNvSpPr>
              <a:spLocks noChangeAspect="1"/>
            </p:cNvSpPr>
            <p:nvPr/>
          </p:nvSpPr>
          <p:spPr>
            <a:xfrm>
              <a:off x="4082471" y="1018824"/>
              <a:ext cx="7761307" cy="100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3" name="Овал 138"/>
            <p:cNvSpPr>
              <a:spLocks noChangeAspect="1"/>
            </p:cNvSpPr>
            <p:nvPr/>
          </p:nvSpPr>
          <p:spPr>
            <a:xfrm>
              <a:off x="3803287" y="838824"/>
              <a:ext cx="8040491" cy="103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4" name="Овал 138"/>
            <p:cNvSpPr>
              <a:spLocks noChangeAspect="1"/>
            </p:cNvSpPr>
            <p:nvPr/>
          </p:nvSpPr>
          <p:spPr>
            <a:xfrm>
              <a:off x="3524104" y="658824"/>
              <a:ext cx="8319674" cy="107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5" name="Овал 138"/>
            <p:cNvSpPr>
              <a:spLocks noChangeAspect="1"/>
            </p:cNvSpPr>
            <p:nvPr/>
          </p:nvSpPr>
          <p:spPr>
            <a:xfrm>
              <a:off x="3244920" y="478824"/>
              <a:ext cx="8598858" cy="110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8" name="Текст 7"/>
          <p:cNvSpPr>
            <a:spLocks noGrp="1"/>
          </p:cNvSpPr>
          <p:nvPr>
            <p:ph type="body" sz="quarter" idx="10" hasCustomPrompt="1"/>
          </p:nvPr>
        </p:nvSpPr>
        <p:spPr>
          <a:xfrm>
            <a:off x="486217" y="1924051"/>
            <a:ext cx="11226358" cy="3017837"/>
          </a:xfrm>
          <a:prstGeom prst="rect">
            <a:avLst/>
          </a:prstGeom>
        </p:spPr>
        <p:txBody>
          <a:bodyPr/>
          <a:lstStyle>
            <a:lvl1pPr>
              <a:defRPr sz="80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ru-RU" dirty="0" smtClean="0"/>
              <a:t>НАИМЕНОВАНИЕ РАЗДЕЛ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1" hasCustomPrompt="1"/>
          </p:nvPr>
        </p:nvSpPr>
        <p:spPr>
          <a:xfrm>
            <a:off x="485775" y="404813"/>
            <a:ext cx="1409700" cy="1290637"/>
          </a:xfrm>
          <a:prstGeom prst="rect">
            <a:avLst/>
          </a:prstGeom>
        </p:spPr>
        <p:txBody>
          <a:bodyPr/>
          <a:lstStyle>
            <a:lvl1pPr>
              <a:defRPr sz="8800" b="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16200000" scaled="1"/>
                  <a:tileRect/>
                </a:gra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941888"/>
            <a:ext cx="4679950" cy="1511300"/>
          </a:xfrm>
          <a:prstGeom prst="rect">
            <a:avLst/>
          </a:prstGeom>
        </p:spPr>
        <p:txBody>
          <a:bodyPr anchor="b"/>
          <a:lstStyle>
            <a:lvl1pPr>
              <a:defRPr sz="14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1400" b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1400" b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1400" b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1400" b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ru-RU" dirty="0" smtClean="0"/>
              <a:t>Описание содержания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2109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9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9327" y="321514"/>
            <a:ext cx="1436246" cy="529636"/>
          </a:xfrm>
          <a:prstGeom prst="rect">
            <a:avLst/>
          </a:prstGeom>
        </p:spPr>
      </p:pic>
      <p:sp>
        <p:nvSpPr>
          <p:cNvPr id="10" name="Текст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372183" y="358073"/>
            <a:ext cx="7240588" cy="7635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GPN_DIN Regular" panose="020B0504020202020204" pitchFamily="34" charset="-52"/>
                <a:cs typeface="+mn-cs"/>
              </a:rPr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3369391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472013" y="2036234"/>
            <a:ext cx="5424000" cy="1214756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6315251" y="2036234"/>
            <a:ext cx="5424000" cy="1214756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472017" y="1525788"/>
            <a:ext cx="478367" cy="480000"/>
          </a:xfrm>
          <a:ln>
            <a:noFill/>
          </a:ln>
        </p:spPr>
        <p:txBody>
          <a:bodyPr anchor="ctr"/>
          <a:lstStyle>
            <a:lvl1pPr algn="ctr">
              <a:defRPr sz="3200"/>
            </a:lvl1pPr>
            <a:lvl2pPr algn="ctr">
              <a:defRPr sz="5333"/>
            </a:lvl2pPr>
            <a:lvl3pPr algn="ctr">
              <a:defRPr sz="5333"/>
            </a:lvl3pPr>
            <a:lvl4pPr algn="ctr">
              <a:defRPr sz="5333"/>
            </a:lvl4pPr>
            <a:lvl5pPr algn="ctr">
              <a:defRPr sz="5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6315255" y="1525788"/>
            <a:ext cx="478367" cy="480000"/>
          </a:xfrm>
          <a:ln>
            <a:noFill/>
          </a:ln>
        </p:spPr>
        <p:txBody>
          <a:bodyPr anchor="ctr"/>
          <a:lstStyle>
            <a:lvl1pPr algn="ctr">
              <a:defRPr sz="3200"/>
            </a:lvl1pPr>
            <a:lvl2pPr algn="ctr">
              <a:defRPr sz="5333"/>
            </a:lvl2pPr>
            <a:lvl3pPr algn="ctr">
              <a:defRPr sz="5333"/>
            </a:lvl3pPr>
            <a:lvl4pPr algn="ctr">
              <a:defRPr sz="5333"/>
            </a:lvl4pPr>
            <a:lvl5pPr algn="ctr">
              <a:defRPr sz="5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4977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1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87048"/>
            <a:ext cx="11282849" cy="2763861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4259508"/>
            <a:ext cx="8977207" cy="748373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6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8" y="6164067"/>
            <a:ext cx="7026544" cy="458547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2861" y="6242933"/>
            <a:ext cx="1472905" cy="2784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3381359"/>
            <a:ext cx="11235265" cy="6477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1" name="Прямоугольник 8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 smtClean="0">
                    <a:solidFill>
                      <a:schemeClr val="bg1"/>
                    </a:solidFill>
                  </a:rPr>
                </a:br>
                <a:r>
                  <a:rPr lang="ru-RU" sz="933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933" dirty="0" smtClean="0">
                    <a:solidFill>
                      <a:schemeClr val="bg1"/>
                    </a:solidFill>
                  </a:rPr>
                </a:br>
                <a:r>
                  <a:rPr lang="ru-RU" sz="933" dirty="0" smtClean="0">
                    <a:solidFill>
                      <a:schemeClr val="bg1"/>
                    </a:solidFill>
                  </a:rPr>
                  <a:t>6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 smtClean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 smtClean="0">
                    <a:solidFill>
                      <a:srgbClr val="FFFFFF"/>
                    </a:solidFill>
                  </a:rPr>
                </a:br>
                <a:r>
                  <a:rPr lang="en-US" sz="933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 smtClean="0">
                    <a:solidFill>
                      <a:srgbClr val="FFFFFF"/>
                    </a:solidFill>
                  </a:rPr>
                </a:br>
                <a:r>
                  <a:rPr lang="en-US" sz="933" dirty="0" smtClean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Box 96"/>
              <p:cNvSpPr txBox="1"/>
              <p:nvPr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 smtClean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 smtClean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 smtClean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 smtClean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40189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8F30ED-8F14-43BF-A255-0A9FC92D3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E6C5EED-E6E5-4105-AB92-EE0B12E895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FDA4D37-A46D-4BC1-81F4-48FE8BC8E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D2FB9-7470-4EDA-829A-1ED3B35472D7}" type="datetimeFigureOut">
              <a:rPr lang="ru-RU" smtClean="0"/>
              <a:t>11.10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AD35E8-C722-4467-8AE0-63866877A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22A1C2A-5970-43D6-9732-DEC4AF799A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A3FA6-0CD9-4F8A-8D07-6A53E20F3AF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29811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368" y="463845"/>
            <a:ext cx="11235267" cy="896836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83851" y="1509185"/>
            <a:ext cx="11229783" cy="238592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30400" y="4038084"/>
            <a:ext cx="101616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4038084"/>
            <a:ext cx="20304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5012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8128000" y="1509185"/>
            <a:ext cx="4064000" cy="45593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0064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рбитрабельность спора: ТОП советов по составлению арбитражной оговорки в 2022 г.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5295" y="1509185"/>
            <a:ext cx="4559300" cy="45593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5414895" y="2752726"/>
            <a:ext cx="2713107" cy="2072217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4268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Овал 1"/>
          <p:cNvSpPr/>
          <p:nvPr userDrawn="1"/>
        </p:nvSpPr>
        <p:spPr>
          <a:xfrm>
            <a:off x="7720655" y="3223146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2000">
                <a:schemeClr val="accent2">
                  <a:alpha val="44000"/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" name="Овал 2"/>
          <p:cNvSpPr/>
          <p:nvPr userDrawn="1"/>
        </p:nvSpPr>
        <p:spPr>
          <a:xfrm>
            <a:off x="-4902447" y="234774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8000">
                <a:schemeClr val="accent4">
                  <a:alpha val="17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9327" y="321514"/>
            <a:ext cx="1436246" cy="529636"/>
          </a:xfrm>
          <a:prstGeom prst="rect">
            <a:avLst/>
          </a:prstGeom>
        </p:spPr>
      </p:pic>
      <p:grpSp>
        <p:nvGrpSpPr>
          <p:cNvPr id="43" name="Группа 42"/>
          <p:cNvGrpSpPr/>
          <p:nvPr userDrawn="1"/>
        </p:nvGrpSpPr>
        <p:grpSpPr>
          <a:xfrm rot="21158244">
            <a:off x="-9442929" y="-4205491"/>
            <a:ext cx="22328524" cy="24486862"/>
            <a:chOff x="3244920" y="478824"/>
            <a:chExt cx="8598858" cy="11088000"/>
          </a:xfrm>
        </p:grpSpPr>
        <p:sp>
          <p:nvSpPr>
            <p:cNvPr id="44" name="Овал 138"/>
            <p:cNvSpPr>
              <a:spLocks noChangeAspect="1"/>
            </p:cNvSpPr>
            <p:nvPr/>
          </p:nvSpPr>
          <p:spPr>
            <a:xfrm>
              <a:off x="9107777" y="4258824"/>
              <a:ext cx="2736001" cy="35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5" name="Овал 138"/>
            <p:cNvSpPr>
              <a:spLocks noChangeAspect="1"/>
            </p:cNvSpPr>
            <p:nvPr/>
          </p:nvSpPr>
          <p:spPr>
            <a:xfrm>
              <a:off x="8828593" y="4078824"/>
              <a:ext cx="3015185" cy="38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6" name="Овал 138"/>
            <p:cNvSpPr>
              <a:spLocks noChangeAspect="1"/>
            </p:cNvSpPr>
            <p:nvPr/>
          </p:nvSpPr>
          <p:spPr>
            <a:xfrm>
              <a:off x="8549408" y="3898824"/>
              <a:ext cx="3294370" cy="42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7" name="Овал 138"/>
            <p:cNvSpPr>
              <a:spLocks noChangeAspect="1"/>
            </p:cNvSpPr>
            <p:nvPr/>
          </p:nvSpPr>
          <p:spPr>
            <a:xfrm>
              <a:off x="8270224" y="3718824"/>
              <a:ext cx="3573554" cy="46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8" name="Овал 138"/>
            <p:cNvSpPr>
              <a:spLocks noChangeAspect="1"/>
            </p:cNvSpPr>
            <p:nvPr/>
          </p:nvSpPr>
          <p:spPr>
            <a:xfrm>
              <a:off x="7991040" y="3538824"/>
              <a:ext cx="3852738" cy="49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9" name="Овал 138"/>
            <p:cNvSpPr>
              <a:spLocks noChangeAspect="1"/>
            </p:cNvSpPr>
            <p:nvPr/>
          </p:nvSpPr>
          <p:spPr>
            <a:xfrm>
              <a:off x="7711856" y="3358824"/>
              <a:ext cx="4131922" cy="53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0" name="Овал 138"/>
            <p:cNvSpPr>
              <a:spLocks noChangeAspect="1"/>
            </p:cNvSpPr>
            <p:nvPr/>
          </p:nvSpPr>
          <p:spPr>
            <a:xfrm>
              <a:off x="7432676" y="3178824"/>
              <a:ext cx="4411102" cy="56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1" name="Овал 138"/>
            <p:cNvSpPr>
              <a:spLocks noChangeAspect="1"/>
            </p:cNvSpPr>
            <p:nvPr/>
          </p:nvSpPr>
          <p:spPr>
            <a:xfrm>
              <a:off x="7153491" y="2998824"/>
              <a:ext cx="4690287" cy="60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2" name="Овал 138"/>
            <p:cNvSpPr>
              <a:spLocks noChangeAspect="1"/>
            </p:cNvSpPr>
            <p:nvPr/>
          </p:nvSpPr>
          <p:spPr>
            <a:xfrm>
              <a:off x="6874308" y="2818824"/>
              <a:ext cx="4969470" cy="64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3" name="Овал 138"/>
            <p:cNvSpPr>
              <a:spLocks noChangeAspect="1"/>
            </p:cNvSpPr>
            <p:nvPr/>
          </p:nvSpPr>
          <p:spPr>
            <a:xfrm>
              <a:off x="6595124" y="2638824"/>
              <a:ext cx="5248654" cy="67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4" name="Овал 138"/>
            <p:cNvSpPr>
              <a:spLocks noChangeAspect="1"/>
            </p:cNvSpPr>
            <p:nvPr/>
          </p:nvSpPr>
          <p:spPr>
            <a:xfrm>
              <a:off x="6315941" y="2458824"/>
              <a:ext cx="5527837" cy="71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5" name="Овал 138"/>
            <p:cNvSpPr>
              <a:spLocks noChangeAspect="1"/>
            </p:cNvSpPr>
            <p:nvPr/>
          </p:nvSpPr>
          <p:spPr>
            <a:xfrm>
              <a:off x="6036757" y="2278824"/>
              <a:ext cx="5807021" cy="74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6" name="Овал 138"/>
            <p:cNvSpPr>
              <a:spLocks noChangeAspect="1"/>
            </p:cNvSpPr>
            <p:nvPr/>
          </p:nvSpPr>
          <p:spPr>
            <a:xfrm>
              <a:off x="5757573" y="2098824"/>
              <a:ext cx="6086205" cy="78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7" name="Овал 138"/>
            <p:cNvSpPr>
              <a:spLocks noChangeAspect="1"/>
            </p:cNvSpPr>
            <p:nvPr/>
          </p:nvSpPr>
          <p:spPr>
            <a:xfrm>
              <a:off x="5478390" y="1918824"/>
              <a:ext cx="6365388" cy="82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8" name="Овал 138"/>
            <p:cNvSpPr>
              <a:spLocks noChangeAspect="1"/>
            </p:cNvSpPr>
            <p:nvPr/>
          </p:nvSpPr>
          <p:spPr>
            <a:xfrm>
              <a:off x="5199206" y="1738824"/>
              <a:ext cx="6644572" cy="85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9" name="Овал 138"/>
            <p:cNvSpPr>
              <a:spLocks noChangeAspect="1"/>
            </p:cNvSpPr>
            <p:nvPr/>
          </p:nvSpPr>
          <p:spPr>
            <a:xfrm>
              <a:off x="4920022" y="1558824"/>
              <a:ext cx="6923756" cy="89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0" name="Овал 138"/>
            <p:cNvSpPr>
              <a:spLocks noChangeAspect="1"/>
            </p:cNvSpPr>
            <p:nvPr/>
          </p:nvSpPr>
          <p:spPr>
            <a:xfrm>
              <a:off x="4640838" y="1378824"/>
              <a:ext cx="7202940" cy="92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1" name="Овал 138"/>
            <p:cNvSpPr>
              <a:spLocks noChangeAspect="1"/>
            </p:cNvSpPr>
            <p:nvPr/>
          </p:nvSpPr>
          <p:spPr>
            <a:xfrm>
              <a:off x="4361655" y="1198824"/>
              <a:ext cx="7482123" cy="96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2" name="Овал 138"/>
            <p:cNvSpPr>
              <a:spLocks noChangeAspect="1"/>
            </p:cNvSpPr>
            <p:nvPr/>
          </p:nvSpPr>
          <p:spPr>
            <a:xfrm>
              <a:off x="4082471" y="1018824"/>
              <a:ext cx="7761307" cy="100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3" name="Овал 138"/>
            <p:cNvSpPr>
              <a:spLocks noChangeAspect="1"/>
            </p:cNvSpPr>
            <p:nvPr/>
          </p:nvSpPr>
          <p:spPr>
            <a:xfrm>
              <a:off x="3803287" y="838824"/>
              <a:ext cx="8040491" cy="103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4" name="Овал 138"/>
            <p:cNvSpPr>
              <a:spLocks noChangeAspect="1"/>
            </p:cNvSpPr>
            <p:nvPr/>
          </p:nvSpPr>
          <p:spPr>
            <a:xfrm>
              <a:off x="3524104" y="658824"/>
              <a:ext cx="8319674" cy="107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5" name="Овал 138"/>
            <p:cNvSpPr>
              <a:spLocks noChangeAspect="1"/>
            </p:cNvSpPr>
            <p:nvPr/>
          </p:nvSpPr>
          <p:spPr>
            <a:xfrm>
              <a:off x="3244920" y="478824"/>
              <a:ext cx="8598858" cy="110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2000">
                    <a:schemeClr val="accent4">
                      <a:alpha val="20000"/>
                    </a:schemeClr>
                  </a:gs>
                  <a:gs pos="0">
                    <a:srgbClr val="245B85">
                      <a:alpha val="20000"/>
                    </a:srgbClr>
                  </a:gs>
                  <a:gs pos="53000">
                    <a:schemeClr val="accent2">
                      <a:alpha val="1000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372183" y="358073"/>
            <a:ext cx="7240588" cy="7635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GPN_DIN Regular" panose="020B0504020202020204" pitchFamily="34" charset="-52"/>
                <a:cs typeface="+mn-cs"/>
              </a:rPr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3603279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2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0" y="1160463"/>
            <a:ext cx="12192000" cy="569753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9327" y="321514"/>
            <a:ext cx="1436246" cy="529636"/>
          </a:xfrm>
          <a:prstGeom prst="rect">
            <a:avLst/>
          </a:prstGeom>
        </p:spPr>
      </p:pic>
      <p:grpSp>
        <p:nvGrpSpPr>
          <p:cNvPr id="43" name="Группа 42"/>
          <p:cNvGrpSpPr/>
          <p:nvPr userDrawn="1"/>
        </p:nvGrpSpPr>
        <p:grpSpPr>
          <a:xfrm rot="21158244">
            <a:off x="-9442929" y="-4205491"/>
            <a:ext cx="22328524" cy="24486862"/>
            <a:chOff x="3244920" y="478824"/>
            <a:chExt cx="8598858" cy="11088000"/>
          </a:xfrm>
        </p:grpSpPr>
        <p:sp>
          <p:nvSpPr>
            <p:cNvPr id="44" name="Овал 138"/>
            <p:cNvSpPr>
              <a:spLocks noChangeAspect="1"/>
            </p:cNvSpPr>
            <p:nvPr/>
          </p:nvSpPr>
          <p:spPr>
            <a:xfrm>
              <a:off x="9107777" y="4258824"/>
              <a:ext cx="2736001" cy="35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5" name="Овал 138"/>
            <p:cNvSpPr>
              <a:spLocks noChangeAspect="1"/>
            </p:cNvSpPr>
            <p:nvPr/>
          </p:nvSpPr>
          <p:spPr>
            <a:xfrm>
              <a:off x="8828593" y="4078824"/>
              <a:ext cx="3015185" cy="38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6" name="Овал 138"/>
            <p:cNvSpPr>
              <a:spLocks noChangeAspect="1"/>
            </p:cNvSpPr>
            <p:nvPr/>
          </p:nvSpPr>
          <p:spPr>
            <a:xfrm>
              <a:off x="8549408" y="3898824"/>
              <a:ext cx="3294370" cy="42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7" name="Овал 138"/>
            <p:cNvSpPr>
              <a:spLocks noChangeAspect="1"/>
            </p:cNvSpPr>
            <p:nvPr/>
          </p:nvSpPr>
          <p:spPr>
            <a:xfrm>
              <a:off x="8270224" y="3718824"/>
              <a:ext cx="3573554" cy="46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8" name="Овал 138"/>
            <p:cNvSpPr>
              <a:spLocks noChangeAspect="1"/>
            </p:cNvSpPr>
            <p:nvPr/>
          </p:nvSpPr>
          <p:spPr>
            <a:xfrm>
              <a:off x="7991040" y="3538824"/>
              <a:ext cx="3852738" cy="49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9" name="Овал 138"/>
            <p:cNvSpPr>
              <a:spLocks noChangeAspect="1"/>
            </p:cNvSpPr>
            <p:nvPr/>
          </p:nvSpPr>
          <p:spPr>
            <a:xfrm>
              <a:off x="7711856" y="3358824"/>
              <a:ext cx="4131922" cy="53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0" name="Овал 138"/>
            <p:cNvSpPr>
              <a:spLocks noChangeAspect="1"/>
            </p:cNvSpPr>
            <p:nvPr/>
          </p:nvSpPr>
          <p:spPr>
            <a:xfrm>
              <a:off x="7432676" y="3178824"/>
              <a:ext cx="4411102" cy="56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1" name="Овал 138"/>
            <p:cNvSpPr>
              <a:spLocks noChangeAspect="1"/>
            </p:cNvSpPr>
            <p:nvPr/>
          </p:nvSpPr>
          <p:spPr>
            <a:xfrm>
              <a:off x="7153491" y="2998824"/>
              <a:ext cx="4690287" cy="60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2" name="Овал 138"/>
            <p:cNvSpPr>
              <a:spLocks noChangeAspect="1"/>
            </p:cNvSpPr>
            <p:nvPr/>
          </p:nvSpPr>
          <p:spPr>
            <a:xfrm>
              <a:off x="6874308" y="2818824"/>
              <a:ext cx="4969470" cy="64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3" name="Овал 138"/>
            <p:cNvSpPr>
              <a:spLocks noChangeAspect="1"/>
            </p:cNvSpPr>
            <p:nvPr/>
          </p:nvSpPr>
          <p:spPr>
            <a:xfrm>
              <a:off x="6595124" y="2638824"/>
              <a:ext cx="5248654" cy="67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4" name="Овал 138"/>
            <p:cNvSpPr>
              <a:spLocks noChangeAspect="1"/>
            </p:cNvSpPr>
            <p:nvPr/>
          </p:nvSpPr>
          <p:spPr>
            <a:xfrm>
              <a:off x="6315941" y="2458824"/>
              <a:ext cx="5527837" cy="71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5" name="Овал 138"/>
            <p:cNvSpPr>
              <a:spLocks noChangeAspect="1"/>
            </p:cNvSpPr>
            <p:nvPr/>
          </p:nvSpPr>
          <p:spPr>
            <a:xfrm>
              <a:off x="6036757" y="2278824"/>
              <a:ext cx="5807021" cy="74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6" name="Овал 138"/>
            <p:cNvSpPr>
              <a:spLocks noChangeAspect="1"/>
            </p:cNvSpPr>
            <p:nvPr/>
          </p:nvSpPr>
          <p:spPr>
            <a:xfrm>
              <a:off x="5757573" y="2098824"/>
              <a:ext cx="6086205" cy="78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7" name="Овал 138"/>
            <p:cNvSpPr>
              <a:spLocks noChangeAspect="1"/>
            </p:cNvSpPr>
            <p:nvPr/>
          </p:nvSpPr>
          <p:spPr>
            <a:xfrm>
              <a:off x="5478390" y="1918824"/>
              <a:ext cx="6365388" cy="82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8" name="Овал 138"/>
            <p:cNvSpPr>
              <a:spLocks noChangeAspect="1"/>
            </p:cNvSpPr>
            <p:nvPr/>
          </p:nvSpPr>
          <p:spPr>
            <a:xfrm>
              <a:off x="5199206" y="1738824"/>
              <a:ext cx="6644572" cy="85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9" name="Овал 138"/>
            <p:cNvSpPr>
              <a:spLocks noChangeAspect="1"/>
            </p:cNvSpPr>
            <p:nvPr/>
          </p:nvSpPr>
          <p:spPr>
            <a:xfrm>
              <a:off x="4920022" y="1558824"/>
              <a:ext cx="6923756" cy="89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0" name="Овал 138"/>
            <p:cNvSpPr>
              <a:spLocks noChangeAspect="1"/>
            </p:cNvSpPr>
            <p:nvPr/>
          </p:nvSpPr>
          <p:spPr>
            <a:xfrm>
              <a:off x="4640838" y="1378824"/>
              <a:ext cx="7202940" cy="92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1" name="Овал 138"/>
            <p:cNvSpPr>
              <a:spLocks noChangeAspect="1"/>
            </p:cNvSpPr>
            <p:nvPr/>
          </p:nvSpPr>
          <p:spPr>
            <a:xfrm>
              <a:off x="4361655" y="1198824"/>
              <a:ext cx="7482123" cy="964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2" name="Овал 138"/>
            <p:cNvSpPr>
              <a:spLocks noChangeAspect="1"/>
            </p:cNvSpPr>
            <p:nvPr/>
          </p:nvSpPr>
          <p:spPr>
            <a:xfrm>
              <a:off x="4082471" y="1018824"/>
              <a:ext cx="7761307" cy="1000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3" name="Овал 138"/>
            <p:cNvSpPr>
              <a:spLocks noChangeAspect="1"/>
            </p:cNvSpPr>
            <p:nvPr/>
          </p:nvSpPr>
          <p:spPr>
            <a:xfrm>
              <a:off x="3803287" y="838824"/>
              <a:ext cx="8040491" cy="1036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4" name="Овал 138"/>
            <p:cNvSpPr>
              <a:spLocks noChangeAspect="1"/>
            </p:cNvSpPr>
            <p:nvPr/>
          </p:nvSpPr>
          <p:spPr>
            <a:xfrm>
              <a:off x="3524104" y="658824"/>
              <a:ext cx="8319674" cy="1072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5" name="Овал 138"/>
            <p:cNvSpPr>
              <a:spLocks noChangeAspect="1"/>
            </p:cNvSpPr>
            <p:nvPr/>
          </p:nvSpPr>
          <p:spPr>
            <a:xfrm>
              <a:off x="3244920" y="478824"/>
              <a:ext cx="8598858" cy="1108800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4">
                      <a:alpha val="10000"/>
                    </a:schemeClr>
                  </a:gs>
                  <a:gs pos="44000">
                    <a:schemeClr val="accent2">
                      <a:alpha val="1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372183" y="358073"/>
            <a:ext cx="7240588" cy="7635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GPN_DIN Regular" panose="020B0504020202020204" pitchFamily="34" charset="-52"/>
                <a:cs typeface="+mn-cs"/>
              </a:rPr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3957792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3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9327" y="321514"/>
            <a:ext cx="1436246" cy="529636"/>
          </a:xfrm>
          <a:prstGeom prst="rect">
            <a:avLst/>
          </a:prstGeom>
        </p:spPr>
      </p:pic>
      <p:sp>
        <p:nvSpPr>
          <p:cNvPr id="35" name="Овал 34"/>
          <p:cNvSpPr/>
          <p:nvPr userDrawn="1"/>
        </p:nvSpPr>
        <p:spPr>
          <a:xfrm>
            <a:off x="-3576542" y="2956417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8000">
                <a:schemeClr val="accent4">
                  <a:alpha val="17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6" name="Овал 35"/>
          <p:cNvSpPr/>
          <p:nvPr userDrawn="1"/>
        </p:nvSpPr>
        <p:spPr>
          <a:xfrm>
            <a:off x="9194260" y="-1302957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2000">
                <a:schemeClr val="accent2">
                  <a:alpha val="44000"/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37" name="Группа 36"/>
          <p:cNvGrpSpPr/>
          <p:nvPr userDrawn="1"/>
        </p:nvGrpSpPr>
        <p:grpSpPr>
          <a:xfrm rot="5400000">
            <a:off x="5985380" y="-159053"/>
            <a:ext cx="8148479" cy="8936134"/>
            <a:chOff x="5711270" y="958485"/>
            <a:chExt cx="5956757" cy="6532554"/>
          </a:xfrm>
        </p:grpSpPr>
        <p:sp>
          <p:nvSpPr>
            <p:cNvPr id="38" name="Овал 138"/>
            <p:cNvSpPr>
              <a:spLocks noChangeAspect="1"/>
            </p:cNvSpPr>
            <p:nvPr/>
          </p:nvSpPr>
          <p:spPr>
            <a:xfrm rot="21158244">
              <a:off x="7741982" y="3185492"/>
              <a:ext cx="1895332" cy="207854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9" name="Овал 138"/>
            <p:cNvSpPr>
              <a:spLocks noChangeAspect="1"/>
            </p:cNvSpPr>
            <p:nvPr/>
          </p:nvSpPr>
          <p:spPr>
            <a:xfrm rot="21158244">
              <a:off x="7645281" y="3079444"/>
              <a:ext cx="2088734" cy="229063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0" name="Овал 138"/>
            <p:cNvSpPr>
              <a:spLocks noChangeAspect="1"/>
            </p:cNvSpPr>
            <p:nvPr/>
          </p:nvSpPr>
          <p:spPr>
            <a:xfrm rot="21158244">
              <a:off x="7548580" y="2973396"/>
              <a:ext cx="2282136" cy="2502732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1" name="Овал 138"/>
            <p:cNvSpPr>
              <a:spLocks noChangeAspect="1"/>
            </p:cNvSpPr>
            <p:nvPr/>
          </p:nvSpPr>
          <p:spPr>
            <a:xfrm rot="21158244">
              <a:off x="7451880" y="2867348"/>
              <a:ext cx="2475537" cy="271482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2" name="Овал 138"/>
            <p:cNvSpPr>
              <a:spLocks noChangeAspect="1"/>
            </p:cNvSpPr>
            <p:nvPr/>
          </p:nvSpPr>
          <p:spPr>
            <a:xfrm rot="21158244">
              <a:off x="7355179" y="2761300"/>
              <a:ext cx="2668939" cy="292692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6" name="Овал 138"/>
            <p:cNvSpPr>
              <a:spLocks noChangeAspect="1"/>
            </p:cNvSpPr>
            <p:nvPr/>
          </p:nvSpPr>
          <p:spPr>
            <a:xfrm rot="21158244">
              <a:off x="7258478" y="2655253"/>
              <a:ext cx="2862340" cy="313901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7" name="Овал 138"/>
            <p:cNvSpPr>
              <a:spLocks noChangeAspect="1"/>
            </p:cNvSpPr>
            <p:nvPr/>
          </p:nvSpPr>
          <p:spPr>
            <a:xfrm rot="21158244">
              <a:off x="7161779" y="2549205"/>
              <a:ext cx="3055739" cy="335111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8" name="Овал 138"/>
            <p:cNvSpPr>
              <a:spLocks noChangeAspect="1"/>
            </p:cNvSpPr>
            <p:nvPr/>
          </p:nvSpPr>
          <p:spPr>
            <a:xfrm rot="21158244">
              <a:off x="7065078" y="2443157"/>
              <a:ext cx="3249141" cy="356321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9" name="Овал 138"/>
            <p:cNvSpPr>
              <a:spLocks noChangeAspect="1"/>
            </p:cNvSpPr>
            <p:nvPr/>
          </p:nvSpPr>
          <p:spPr>
            <a:xfrm rot="21158244">
              <a:off x="6968378" y="2337109"/>
              <a:ext cx="3442541" cy="377530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0" name="Овал 138"/>
            <p:cNvSpPr>
              <a:spLocks noChangeAspect="1"/>
            </p:cNvSpPr>
            <p:nvPr/>
          </p:nvSpPr>
          <p:spPr>
            <a:xfrm rot="21158244">
              <a:off x="6871677" y="2231061"/>
              <a:ext cx="3635943" cy="398740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1" name="Овал 138"/>
            <p:cNvSpPr>
              <a:spLocks noChangeAspect="1"/>
            </p:cNvSpPr>
            <p:nvPr/>
          </p:nvSpPr>
          <p:spPr>
            <a:xfrm rot="21158244">
              <a:off x="6774976" y="2125013"/>
              <a:ext cx="3829344" cy="419949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2" name="Овал 138"/>
            <p:cNvSpPr>
              <a:spLocks noChangeAspect="1"/>
            </p:cNvSpPr>
            <p:nvPr/>
          </p:nvSpPr>
          <p:spPr>
            <a:xfrm rot="21158244">
              <a:off x="6678276" y="2018965"/>
              <a:ext cx="4022745" cy="441159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3" name="Овал 138"/>
            <p:cNvSpPr>
              <a:spLocks noChangeAspect="1"/>
            </p:cNvSpPr>
            <p:nvPr/>
          </p:nvSpPr>
          <p:spPr>
            <a:xfrm rot="21158244">
              <a:off x="6581575" y="1912917"/>
              <a:ext cx="4216146" cy="462369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4" name="Овал 138"/>
            <p:cNvSpPr>
              <a:spLocks noChangeAspect="1"/>
            </p:cNvSpPr>
            <p:nvPr/>
          </p:nvSpPr>
          <p:spPr>
            <a:xfrm rot="21158244">
              <a:off x="6484875" y="1806869"/>
              <a:ext cx="4409547" cy="483578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5" name="Овал 138"/>
            <p:cNvSpPr>
              <a:spLocks noChangeAspect="1"/>
            </p:cNvSpPr>
            <p:nvPr/>
          </p:nvSpPr>
          <p:spPr>
            <a:xfrm rot="21158244">
              <a:off x="6388174" y="1700821"/>
              <a:ext cx="4602949" cy="504788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6" name="Овал 138"/>
            <p:cNvSpPr>
              <a:spLocks noChangeAspect="1"/>
            </p:cNvSpPr>
            <p:nvPr/>
          </p:nvSpPr>
          <p:spPr>
            <a:xfrm rot="21158244">
              <a:off x="6291473" y="1594773"/>
              <a:ext cx="4796350" cy="525997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7" name="Овал 138"/>
            <p:cNvSpPr>
              <a:spLocks noChangeAspect="1"/>
            </p:cNvSpPr>
            <p:nvPr/>
          </p:nvSpPr>
          <p:spPr>
            <a:xfrm rot="21158244">
              <a:off x="6194773" y="1488725"/>
              <a:ext cx="4989751" cy="547207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8" name="Овал 138"/>
            <p:cNvSpPr>
              <a:spLocks noChangeAspect="1"/>
            </p:cNvSpPr>
            <p:nvPr/>
          </p:nvSpPr>
          <p:spPr>
            <a:xfrm rot="21158244">
              <a:off x="6098072" y="1382677"/>
              <a:ext cx="5183152" cy="568417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9" name="Овал 138"/>
            <p:cNvSpPr>
              <a:spLocks noChangeAspect="1"/>
            </p:cNvSpPr>
            <p:nvPr/>
          </p:nvSpPr>
          <p:spPr>
            <a:xfrm rot="21158244">
              <a:off x="6001372" y="1276629"/>
              <a:ext cx="5376553" cy="589626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0" name="Овал 138"/>
            <p:cNvSpPr>
              <a:spLocks noChangeAspect="1"/>
            </p:cNvSpPr>
            <p:nvPr/>
          </p:nvSpPr>
          <p:spPr>
            <a:xfrm rot="21158244">
              <a:off x="5904671" y="1170581"/>
              <a:ext cx="5569955" cy="6108362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1" name="Овал 138"/>
            <p:cNvSpPr>
              <a:spLocks noChangeAspect="1"/>
            </p:cNvSpPr>
            <p:nvPr/>
          </p:nvSpPr>
          <p:spPr>
            <a:xfrm rot="21158244">
              <a:off x="5807970" y="1064533"/>
              <a:ext cx="5763356" cy="632045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2" name="Овал 138"/>
            <p:cNvSpPr>
              <a:spLocks noChangeAspect="1"/>
            </p:cNvSpPr>
            <p:nvPr/>
          </p:nvSpPr>
          <p:spPr>
            <a:xfrm rot="21158244">
              <a:off x="5711270" y="958485"/>
              <a:ext cx="5956757" cy="653255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44" name="Текст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372183" y="358073"/>
            <a:ext cx="7240588" cy="7635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GPN_DIN Regular" panose="020B0504020202020204" pitchFamily="34" charset="-52"/>
                <a:cs typeface="+mn-cs"/>
              </a:rPr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433205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3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9327" y="321514"/>
            <a:ext cx="1436246" cy="529636"/>
          </a:xfrm>
          <a:prstGeom prst="rect">
            <a:avLst/>
          </a:prstGeom>
        </p:spPr>
      </p:pic>
      <p:sp>
        <p:nvSpPr>
          <p:cNvPr id="36" name="Овал 35"/>
          <p:cNvSpPr/>
          <p:nvPr userDrawn="1"/>
        </p:nvSpPr>
        <p:spPr>
          <a:xfrm>
            <a:off x="9194260" y="-1302957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2000">
                <a:schemeClr val="accent2">
                  <a:alpha val="44000"/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37" name="Группа 36"/>
          <p:cNvGrpSpPr/>
          <p:nvPr userDrawn="1"/>
        </p:nvGrpSpPr>
        <p:grpSpPr>
          <a:xfrm rot="5400000">
            <a:off x="5985380" y="-159053"/>
            <a:ext cx="8148479" cy="8936134"/>
            <a:chOff x="5711270" y="958485"/>
            <a:chExt cx="5956757" cy="6532554"/>
          </a:xfrm>
        </p:grpSpPr>
        <p:sp>
          <p:nvSpPr>
            <p:cNvPr id="38" name="Овал 138"/>
            <p:cNvSpPr>
              <a:spLocks noChangeAspect="1"/>
            </p:cNvSpPr>
            <p:nvPr/>
          </p:nvSpPr>
          <p:spPr>
            <a:xfrm rot="21158244">
              <a:off x="7741982" y="3185492"/>
              <a:ext cx="1895332" cy="207854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39" name="Овал 138"/>
            <p:cNvSpPr>
              <a:spLocks noChangeAspect="1"/>
            </p:cNvSpPr>
            <p:nvPr/>
          </p:nvSpPr>
          <p:spPr>
            <a:xfrm rot="21158244">
              <a:off x="7645281" y="3079444"/>
              <a:ext cx="2088734" cy="229063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0" name="Овал 138"/>
            <p:cNvSpPr>
              <a:spLocks noChangeAspect="1"/>
            </p:cNvSpPr>
            <p:nvPr/>
          </p:nvSpPr>
          <p:spPr>
            <a:xfrm rot="21158244">
              <a:off x="7548580" y="2973396"/>
              <a:ext cx="2282136" cy="2502732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1" name="Овал 138"/>
            <p:cNvSpPr>
              <a:spLocks noChangeAspect="1"/>
            </p:cNvSpPr>
            <p:nvPr/>
          </p:nvSpPr>
          <p:spPr>
            <a:xfrm rot="21158244">
              <a:off x="7451880" y="2867348"/>
              <a:ext cx="2475537" cy="271482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2" name="Овал 138"/>
            <p:cNvSpPr>
              <a:spLocks noChangeAspect="1"/>
            </p:cNvSpPr>
            <p:nvPr/>
          </p:nvSpPr>
          <p:spPr>
            <a:xfrm rot="21158244">
              <a:off x="7355179" y="2761300"/>
              <a:ext cx="2668939" cy="292692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6" name="Овал 138"/>
            <p:cNvSpPr>
              <a:spLocks noChangeAspect="1"/>
            </p:cNvSpPr>
            <p:nvPr/>
          </p:nvSpPr>
          <p:spPr>
            <a:xfrm rot="21158244">
              <a:off x="7258478" y="2655253"/>
              <a:ext cx="2862340" cy="313901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7" name="Овал 138"/>
            <p:cNvSpPr>
              <a:spLocks noChangeAspect="1"/>
            </p:cNvSpPr>
            <p:nvPr/>
          </p:nvSpPr>
          <p:spPr>
            <a:xfrm rot="21158244">
              <a:off x="7161779" y="2549205"/>
              <a:ext cx="3055739" cy="335111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8" name="Овал 138"/>
            <p:cNvSpPr>
              <a:spLocks noChangeAspect="1"/>
            </p:cNvSpPr>
            <p:nvPr/>
          </p:nvSpPr>
          <p:spPr>
            <a:xfrm rot="21158244">
              <a:off x="7065078" y="2443157"/>
              <a:ext cx="3249141" cy="356321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9" name="Овал 138"/>
            <p:cNvSpPr>
              <a:spLocks noChangeAspect="1"/>
            </p:cNvSpPr>
            <p:nvPr/>
          </p:nvSpPr>
          <p:spPr>
            <a:xfrm rot="21158244">
              <a:off x="6968378" y="2337109"/>
              <a:ext cx="3442541" cy="377530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0" name="Овал 138"/>
            <p:cNvSpPr>
              <a:spLocks noChangeAspect="1"/>
            </p:cNvSpPr>
            <p:nvPr/>
          </p:nvSpPr>
          <p:spPr>
            <a:xfrm rot="21158244">
              <a:off x="6871677" y="2231061"/>
              <a:ext cx="3635943" cy="398740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1" name="Овал 138"/>
            <p:cNvSpPr>
              <a:spLocks noChangeAspect="1"/>
            </p:cNvSpPr>
            <p:nvPr/>
          </p:nvSpPr>
          <p:spPr>
            <a:xfrm rot="21158244">
              <a:off x="6774976" y="2125013"/>
              <a:ext cx="3829344" cy="419949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2" name="Овал 138"/>
            <p:cNvSpPr>
              <a:spLocks noChangeAspect="1"/>
            </p:cNvSpPr>
            <p:nvPr/>
          </p:nvSpPr>
          <p:spPr>
            <a:xfrm rot="21158244">
              <a:off x="6678276" y="2018965"/>
              <a:ext cx="4022745" cy="441159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3" name="Овал 138"/>
            <p:cNvSpPr>
              <a:spLocks noChangeAspect="1"/>
            </p:cNvSpPr>
            <p:nvPr/>
          </p:nvSpPr>
          <p:spPr>
            <a:xfrm rot="21158244">
              <a:off x="6581575" y="1912917"/>
              <a:ext cx="4216146" cy="462369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4" name="Овал 138"/>
            <p:cNvSpPr>
              <a:spLocks noChangeAspect="1"/>
            </p:cNvSpPr>
            <p:nvPr/>
          </p:nvSpPr>
          <p:spPr>
            <a:xfrm rot="21158244">
              <a:off x="6484875" y="1806869"/>
              <a:ext cx="4409547" cy="483578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5" name="Овал 138"/>
            <p:cNvSpPr>
              <a:spLocks noChangeAspect="1"/>
            </p:cNvSpPr>
            <p:nvPr/>
          </p:nvSpPr>
          <p:spPr>
            <a:xfrm rot="21158244">
              <a:off x="6388174" y="1700821"/>
              <a:ext cx="4602949" cy="504788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6" name="Овал 138"/>
            <p:cNvSpPr>
              <a:spLocks noChangeAspect="1"/>
            </p:cNvSpPr>
            <p:nvPr/>
          </p:nvSpPr>
          <p:spPr>
            <a:xfrm rot="21158244">
              <a:off x="6291473" y="1594773"/>
              <a:ext cx="4796350" cy="525997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7" name="Овал 138"/>
            <p:cNvSpPr>
              <a:spLocks noChangeAspect="1"/>
            </p:cNvSpPr>
            <p:nvPr/>
          </p:nvSpPr>
          <p:spPr>
            <a:xfrm rot="21158244">
              <a:off x="6194773" y="1488725"/>
              <a:ext cx="4989751" cy="547207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8" name="Овал 138"/>
            <p:cNvSpPr>
              <a:spLocks noChangeAspect="1"/>
            </p:cNvSpPr>
            <p:nvPr/>
          </p:nvSpPr>
          <p:spPr>
            <a:xfrm rot="21158244">
              <a:off x="6098072" y="1382677"/>
              <a:ext cx="5183152" cy="568417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79" name="Овал 138"/>
            <p:cNvSpPr>
              <a:spLocks noChangeAspect="1"/>
            </p:cNvSpPr>
            <p:nvPr/>
          </p:nvSpPr>
          <p:spPr>
            <a:xfrm rot="21158244">
              <a:off x="6001372" y="1276629"/>
              <a:ext cx="5376553" cy="589626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0" name="Овал 138"/>
            <p:cNvSpPr>
              <a:spLocks noChangeAspect="1"/>
            </p:cNvSpPr>
            <p:nvPr/>
          </p:nvSpPr>
          <p:spPr>
            <a:xfrm rot="21158244">
              <a:off x="5904671" y="1170581"/>
              <a:ext cx="5569955" cy="6108362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1" name="Овал 138"/>
            <p:cNvSpPr>
              <a:spLocks noChangeAspect="1"/>
            </p:cNvSpPr>
            <p:nvPr/>
          </p:nvSpPr>
          <p:spPr>
            <a:xfrm rot="21158244">
              <a:off x="5807970" y="1064533"/>
              <a:ext cx="5763356" cy="632045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2" name="Овал 138"/>
            <p:cNvSpPr>
              <a:spLocks noChangeAspect="1"/>
            </p:cNvSpPr>
            <p:nvPr/>
          </p:nvSpPr>
          <p:spPr>
            <a:xfrm rot="21158244">
              <a:off x="5711270" y="958485"/>
              <a:ext cx="5956757" cy="653255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chemeClr val="accent1">
                      <a:alpha val="15000"/>
                    </a:schemeClr>
                  </a:gs>
                  <a:gs pos="0">
                    <a:schemeClr val="accent2">
                      <a:alpha val="42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370567" y="246063"/>
            <a:ext cx="5108575" cy="1620837"/>
          </a:xfrm>
          <a:prstGeom prst="rect">
            <a:avLst/>
          </a:prstGeom>
        </p:spPr>
        <p:txBody>
          <a:bodyPr/>
          <a:lstStyle>
            <a:lvl1pPr>
              <a:defRPr sz="4000" b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  <a:lvl2pPr>
              <a:defRPr sz="4000">
                <a:latin typeface="Century Gothic" panose="020B0502020202020204" pitchFamily="34" charset="0"/>
              </a:defRPr>
            </a:lvl2pPr>
            <a:lvl3pPr>
              <a:defRPr sz="4000">
                <a:latin typeface="Century Gothic" panose="020B0502020202020204" pitchFamily="34" charset="0"/>
              </a:defRPr>
            </a:lvl3pPr>
            <a:lvl4pPr>
              <a:defRPr sz="4000">
                <a:latin typeface="Century Gothic" panose="020B0502020202020204" pitchFamily="34" charset="0"/>
              </a:defRPr>
            </a:lvl4pPr>
            <a:lvl5pPr>
              <a:defRPr sz="40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ru-RU" dirty="0" smtClean="0"/>
              <a:t>ЗАГОЛОВОК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306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4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34" name="Группа 33"/>
          <p:cNvGrpSpPr/>
          <p:nvPr userDrawn="1"/>
        </p:nvGrpSpPr>
        <p:grpSpPr>
          <a:xfrm rot="3836148" flipH="1">
            <a:off x="-5392283" y="2560303"/>
            <a:ext cx="9768289" cy="9394172"/>
            <a:chOff x="2560375" y="-143183"/>
            <a:chExt cx="8334473" cy="7599850"/>
          </a:xfrm>
        </p:grpSpPr>
        <p:sp>
          <p:nvSpPr>
            <p:cNvPr id="43" name="Овал 138"/>
            <p:cNvSpPr>
              <a:spLocks noChangeAspect="1"/>
            </p:cNvSpPr>
            <p:nvPr/>
          </p:nvSpPr>
          <p:spPr>
            <a:xfrm rot="7568874">
              <a:off x="5518545" y="2330803"/>
              <a:ext cx="2418134" cy="265187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4" name="Овал 138"/>
            <p:cNvSpPr>
              <a:spLocks noChangeAspect="1"/>
            </p:cNvSpPr>
            <p:nvPr/>
          </p:nvSpPr>
          <p:spPr>
            <a:xfrm rot="7568874">
              <a:off x="5395170" y="2195502"/>
              <a:ext cx="2664884" cy="292247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5" name="Овал 138"/>
            <p:cNvSpPr>
              <a:spLocks noChangeAspect="1"/>
            </p:cNvSpPr>
            <p:nvPr/>
          </p:nvSpPr>
          <p:spPr>
            <a:xfrm rot="7568874">
              <a:off x="5271796" y="2060203"/>
              <a:ext cx="2911633" cy="319307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6" name="Овал 138"/>
            <p:cNvSpPr>
              <a:spLocks noChangeAspect="1"/>
            </p:cNvSpPr>
            <p:nvPr/>
          </p:nvSpPr>
          <p:spPr>
            <a:xfrm rot="7568874">
              <a:off x="5148422" y="1924902"/>
              <a:ext cx="3158381" cy="346367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7" name="Овал 138"/>
            <p:cNvSpPr>
              <a:spLocks noChangeAspect="1"/>
            </p:cNvSpPr>
            <p:nvPr/>
          </p:nvSpPr>
          <p:spPr>
            <a:xfrm rot="7568874">
              <a:off x="5025047" y="1789602"/>
              <a:ext cx="3405130" cy="373427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8" name="Овал 138"/>
            <p:cNvSpPr>
              <a:spLocks noChangeAspect="1"/>
            </p:cNvSpPr>
            <p:nvPr/>
          </p:nvSpPr>
          <p:spPr>
            <a:xfrm rot="7568874">
              <a:off x="4901673" y="1654303"/>
              <a:ext cx="3651879" cy="40048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9" name="Овал 138"/>
            <p:cNvSpPr>
              <a:spLocks noChangeAspect="1"/>
            </p:cNvSpPr>
            <p:nvPr/>
          </p:nvSpPr>
          <p:spPr>
            <a:xfrm rot="7568874">
              <a:off x="4778300" y="1519003"/>
              <a:ext cx="3898624" cy="42754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0" name="Овал 138"/>
            <p:cNvSpPr>
              <a:spLocks noChangeAspect="1"/>
            </p:cNvSpPr>
            <p:nvPr/>
          </p:nvSpPr>
          <p:spPr>
            <a:xfrm rot="7568874">
              <a:off x="4654925" y="1383703"/>
              <a:ext cx="4145374" cy="45460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1" name="Овал 138"/>
            <p:cNvSpPr>
              <a:spLocks noChangeAspect="1"/>
            </p:cNvSpPr>
            <p:nvPr/>
          </p:nvSpPr>
          <p:spPr>
            <a:xfrm rot="7568874">
              <a:off x="4531552" y="1248403"/>
              <a:ext cx="4392120" cy="48166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2" name="Овал 138"/>
            <p:cNvSpPr>
              <a:spLocks noChangeAspect="1"/>
            </p:cNvSpPr>
            <p:nvPr/>
          </p:nvSpPr>
          <p:spPr>
            <a:xfrm rot="7568874">
              <a:off x="4408177" y="1113104"/>
              <a:ext cx="4638870" cy="50872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3" name="Овал 138"/>
            <p:cNvSpPr>
              <a:spLocks noChangeAspect="1"/>
            </p:cNvSpPr>
            <p:nvPr/>
          </p:nvSpPr>
          <p:spPr>
            <a:xfrm rot="7568874">
              <a:off x="4284803" y="977803"/>
              <a:ext cx="4885618" cy="53578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4" name="Овал 138"/>
            <p:cNvSpPr>
              <a:spLocks noChangeAspect="1"/>
            </p:cNvSpPr>
            <p:nvPr/>
          </p:nvSpPr>
          <p:spPr>
            <a:xfrm rot="7568874">
              <a:off x="4161429" y="842504"/>
              <a:ext cx="5132366" cy="56284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5" name="Овал 138"/>
            <p:cNvSpPr>
              <a:spLocks noChangeAspect="1"/>
            </p:cNvSpPr>
            <p:nvPr/>
          </p:nvSpPr>
          <p:spPr>
            <a:xfrm rot="7568874">
              <a:off x="4038055" y="707204"/>
              <a:ext cx="5379115" cy="58990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6" name="Овал 138"/>
            <p:cNvSpPr>
              <a:spLocks noChangeAspect="1"/>
            </p:cNvSpPr>
            <p:nvPr/>
          </p:nvSpPr>
          <p:spPr>
            <a:xfrm rot="7568874">
              <a:off x="3914681" y="571903"/>
              <a:ext cx="5625862" cy="61696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7" name="Овал 138"/>
            <p:cNvSpPr>
              <a:spLocks noChangeAspect="1"/>
            </p:cNvSpPr>
            <p:nvPr/>
          </p:nvSpPr>
          <p:spPr>
            <a:xfrm rot="7568874">
              <a:off x="3791306" y="436604"/>
              <a:ext cx="5872612" cy="64402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8" name="Овал 138"/>
            <p:cNvSpPr>
              <a:spLocks noChangeAspect="1"/>
            </p:cNvSpPr>
            <p:nvPr/>
          </p:nvSpPr>
          <p:spPr>
            <a:xfrm rot="7568874">
              <a:off x="3667932" y="301304"/>
              <a:ext cx="6119360" cy="67108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9" name="Овал 138"/>
            <p:cNvSpPr>
              <a:spLocks noChangeAspect="1"/>
            </p:cNvSpPr>
            <p:nvPr/>
          </p:nvSpPr>
          <p:spPr>
            <a:xfrm rot="7568874">
              <a:off x="3544558" y="166005"/>
              <a:ext cx="6366108" cy="69814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0" name="Овал 138"/>
            <p:cNvSpPr>
              <a:spLocks noChangeAspect="1"/>
            </p:cNvSpPr>
            <p:nvPr/>
          </p:nvSpPr>
          <p:spPr>
            <a:xfrm rot="7568874">
              <a:off x="3421184" y="30704"/>
              <a:ext cx="6612857" cy="725207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1" name="Овал 138"/>
            <p:cNvSpPr>
              <a:spLocks noChangeAspect="1"/>
            </p:cNvSpPr>
            <p:nvPr/>
          </p:nvSpPr>
          <p:spPr>
            <a:xfrm rot="7568874">
              <a:off x="3297810" y="-104595"/>
              <a:ext cx="6859604" cy="75226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2" name="Овал 138"/>
            <p:cNvSpPr>
              <a:spLocks noChangeAspect="1"/>
            </p:cNvSpPr>
            <p:nvPr/>
          </p:nvSpPr>
          <p:spPr>
            <a:xfrm rot="7568874">
              <a:off x="3174435" y="-239895"/>
              <a:ext cx="7106354" cy="77932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3" name="Овал 138"/>
            <p:cNvSpPr>
              <a:spLocks noChangeAspect="1"/>
            </p:cNvSpPr>
            <p:nvPr/>
          </p:nvSpPr>
          <p:spPr>
            <a:xfrm rot="7568874">
              <a:off x="3051061" y="-375195"/>
              <a:ext cx="7353102" cy="80638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4" name="Овал 138"/>
            <p:cNvSpPr>
              <a:spLocks noChangeAspect="1"/>
            </p:cNvSpPr>
            <p:nvPr/>
          </p:nvSpPr>
          <p:spPr>
            <a:xfrm rot="7568874">
              <a:off x="2927687" y="-510495"/>
              <a:ext cx="7599850" cy="83344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5" name="Овал 64"/>
          <p:cNvSpPr/>
          <p:nvPr userDrawn="1"/>
        </p:nvSpPr>
        <p:spPr>
          <a:xfrm>
            <a:off x="9133627" y="4967043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2000">
                <a:schemeClr val="accent2">
                  <a:alpha val="44000"/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83" name="Овал 82"/>
          <p:cNvSpPr/>
          <p:nvPr userDrawn="1"/>
        </p:nvSpPr>
        <p:spPr>
          <a:xfrm>
            <a:off x="-1014416" y="3564430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8000">
                <a:schemeClr val="accent4">
                  <a:alpha val="17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84" name="Группа 83"/>
          <p:cNvGrpSpPr/>
          <p:nvPr userDrawn="1"/>
        </p:nvGrpSpPr>
        <p:grpSpPr>
          <a:xfrm rot="17711419">
            <a:off x="5774478" y="2266470"/>
            <a:ext cx="9768289" cy="9394172"/>
            <a:chOff x="2560375" y="-143183"/>
            <a:chExt cx="8334473" cy="7599850"/>
          </a:xfrm>
        </p:grpSpPr>
        <p:sp>
          <p:nvSpPr>
            <p:cNvPr id="85" name="Овал 138"/>
            <p:cNvSpPr>
              <a:spLocks noChangeAspect="1"/>
            </p:cNvSpPr>
            <p:nvPr/>
          </p:nvSpPr>
          <p:spPr>
            <a:xfrm rot="7568874">
              <a:off x="5518545" y="2330803"/>
              <a:ext cx="2418134" cy="265187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6" name="Овал 138"/>
            <p:cNvSpPr>
              <a:spLocks noChangeAspect="1"/>
            </p:cNvSpPr>
            <p:nvPr/>
          </p:nvSpPr>
          <p:spPr>
            <a:xfrm rot="7568874">
              <a:off x="5395170" y="2195502"/>
              <a:ext cx="2664884" cy="292247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7" name="Овал 138"/>
            <p:cNvSpPr>
              <a:spLocks noChangeAspect="1"/>
            </p:cNvSpPr>
            <p:nvPr/>
          </p:nvSpPr>
          <p:spPr>
            <a:xfrm rot="7568874">
              <a:off x="5271796" y="2060203"/>
              <a:ext cx="2911633" cy="319307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8" name="Овал 138"/>
            <p:cNvSpPr>
              <a:spLocks noChangeAspect="1"/>
            </p:cNvSpPr>
            <p:nvPr/>
          </p:nvSpPr>
          <p:spPr>
            <a:xfrm rot="7568874">
              <a:off x="5148422" y="1924902"/>
              <a:ext cx="3158381" cy="346367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9" name="Овал 138"/>
            <p:cNvSpPr>
              <a:spLocks noChangeAspect="1"/>
            </p:cNvSpPr>
            <p:nvPr/>
          </p:nvSpPr>
          <p:spPr>
            <a:xfrm rot="7568874">
              <a:off x="5025047" y="1789602"/>
              <a:ext cx="3405130" cy="373427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0" name="Овал 138"/>
            <p:cNvSpPr>
              <a:spLocks noChangeAspect="1"/>
            </p:cNvSpPr>
            <p:nvPr/>
          </p:nvSpPr>
          <p:spPr>
            <a:xfrm rot="7568874">
              <a:off x="4901673" y="1654303"/>
              <a:ext cx="3651879" cy="40048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1" name="Овал 138"/>
            <p:cNvSpPr>
              <a:spLocks noChangeAspect="1"/>
            </p:cNvSpPr>
            <p:nvPr/>
          </p:nvSpPr>
          <p:spPr>
            <a:xfrm rot="7568874">
              <a:off x="4778300" y="1519003"/>
              <a:ext cx="3898624" cy="42754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2" name="Овал 138"/>
            <p:cNvSpPr>
              <a:spLocks noChangeAspect="1"/>
            </p:cNvSpPr>
            <p:nvPr/>
          </p:nvSpPr>
          <p:spPr>
            <a:xfrm rot="7568874">
              <a:off x="4654925" y="1383703"/>
              <a:ext cx="4145374" cy="45460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3" name="Овал 138"/>
            <p:cNvSpPr>
              <a:spLocks noChangeAspect="1"/>
            </p:cNvSpPr>
            <p:nvPr/>
          </p:nvSpPr>
          <p:spPr>
            <a:xfrm rot="7568874">
              <a:off x="4531552" y="1248403"/>
              <a:ext cx="4392120" cy="48166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4" name="Овал 138"/>
            <p:cNvSpPr>
              <a:spLocks noChangeAspect="1"/>
            </p:cNvSpPr>
            <p:nvPr/>
          </p:nvSpPr>
          <p:spPr>
            <a:xfrm rot="7568874">
              <a:off x="4408177" y="1113104"/>
              <a:ext cx="4638870" cy="50872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5" name="Овал 138"/>
            <p:cNvSpPr>
              <a:spLocks noChangeAspect="1"/>
            </p:cNvSpPr>
            <p:nvPr/>
          </p:nvSpPr>
          <p:spPr>
            <a:xfrm rot="7568874">
              <a:off x="4284803" y="977803"/>
              <a:ext cx="4885618" cy="53578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6" name="Овал 138"/>
            <p:cNvSpPr>
              <a:spLocks noChangeAspect="1"/>
            </p:cNvSpPr>
            <p:nvPr/>
          </p:nvSpPr>
          <p:spPr>
            <a:xfrm rot="7568874">
              <a:off x="4161429" y="842504"/>
              <a:ext cx="5132366" cy="56284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7" name="Овал 138"/>
            <p:cNvSpPr>
              <a:spLocks noChangeAspect="1"/>
            </p:cNvSpPr>
            <p:nvPr/>
          </p:nvSpPr>
          <p:spPr>
            <a:xfrm rot="7568874">
              <a:off x="4038055" y="707204"/>
              <a:ext cx="5379115" cy="58990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8" name="Овал 138"/>
            <p:cNvSpPr>
              <a:spLocks noChangeAspect="1"/>
            </p:cNvSpPr>
            <p:nvPr/>
          </p:nvSpPr>
          <p:spPr>
            <a:xfrm rot="7568874">
              <a:off x="3914681" y="571903"/>
              <a:ext cx="5625862" cy="61696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9" name="Овал 138"/>
            <p:cNvSpPr>
              <a:spLocks noChangeAspect="1"/>
            </p:cNvSpPr>
            <p:nvPr/>
          </p:nvSpPr>
          <p:spPr>
            <a:xfrm rot="7568874">
              <a:off x="3791306" y="436604"/>
              <a:ext cx="5872612" cy="64402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00" name="Овал 138"/>
            <p:cNvSpPr>
              <a:spLocks noChangeAspect="1"/>
            </p:cNvSpPr>
            <p:nvPr/>
          </p:nvSpPr>
          <p:spPr>
            <a:xfrm rot="7568874">
              <a:off x="3667932" y="301304"/>
              <a:ext cx="6119360" cy="67108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01" name="Овал 138"/>
            <p:cNvSpPr>
              <a:spLocks noChangeAspect="1"/>
            </p:cNvSpPr>
            <p:nvPr/>
          </p:nvSpPr>
          <p:spPr>
            <a:xfrm rot="7568874">
              <a:off x="3544558" y="166005"/>
              <a:ext cx="6366108" cy="69814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02" name="Овал 138"/>
            <p:cNvSpPr>
              <a:spLocks noChangeAspect="1"/>
            </p:cNvSpPr>
            <p:nvPr/>
          </p:nvSpPr>
          <p:spPr>
            <a:xfrm rot="7568874">
              <a:off x="3421184" y="30704"/>
              <a:ext cx="6612857" cy="725207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09" name="Овал 138"/>
            <p:cNvSpPr>
              <a:spLocks noChangeAspect="1"/>
            </p:cNvSpPr>
            <p:nvPr/>
          </p:nvSpPr>
          <p:spPr>
            <a:xfrm rot="7568874">
              <a:off x="3297810" y="-104595"/>
              <a:ext cx="6859604" cy="75226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10" name="Овал 138"/>
            <p:cNvSpPr>
              <a:spLocks noChangeAspect="1"/>
            </p:cNvSpPr>
            <p:nvPr/>
          </p:nvSpPr>
          <p:spPr>
            <a:xfrm rot="7568874">
              <a:off x="3174435" y="-239895"/>
              <a:ext cx="7106354" cy="77932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11" name="Овал 138"/>
            <p:cNvSpPr>
              <a:spLocks noChangeAspect="1"/>
            </p:cNvSpPr>
            <p:nvPr/>
          </p:nvSpPr>
          <p:spPr>
            <a:xfrm rot="7568874">
              <a:off x="3051061" y="-375195"/>
              <a:ext cx="7353102" cy="80638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12" name="Овал 138"/>
            <p:cNvSpPr>
              <a:spLocks noChangeAspect="1"/>
            </p:cNvSpPr>
            <p:nvPr/>
          </p:nvSpPr>
          <p:spPr>
            <a:xfrm rot="7568874">
              <a:off x="2927687" y="-510495"/>
              <a:ext cx="7599850" cy="83344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9327" y="321514"/>
            <a:ext cx="1436246" cy="529636"/>
          </a:xfrm>
          <a:prstGeom prst="rect">
            <a:avLst/>
          </a:prstGeom>
        </p:spPr>
      </p:pic>
      <p:sp>
        <p:nvSpPr>
          <p:cNvPr id="67" name="Текст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372183" y="358073"/>
            <a:ext cx="7240588" cy="7635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GPN_DIN Regular" panose="020B0504020202020204" pitchFamily="34" charset="-52"/>
                <a:cs typeface="+mn-cs"/>
              </a:rPr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449561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4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7967663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34" name="Группа 33"/>
          <p:cNvGrpSpPr/>
          <p:nvPr userDrawn="1"/>
        </p:nvGrpSpPr>
        <p:grpSpPr>
          <a:xfrm rot="3836148" flipH="1">
            <a:off x="-5392283" y="2560303"/>
            <a:ext cx="9768289" cy="9394172"/>
            <a:chOff x="2560375" y="-143183"/>
            <a:chExt cx="8334473" cy="7599850"/>
          </a:xfrm>
        </p:grpSpPr>
        <p:sp>
          <p:nvSpPr>
            <p:cNvPr id="43" name="Овал 138"/>
            <p:cNvSpPr>
              <a:spLocks noChangeAspect="1"/>
            </p:cNvSpPr>
            <p:nvPr/>
          </p:nvSpPr>
          <p:spPr>
            <a:xfrm rot="7568874">
              <a:off x="5518545" y="2330803"/>
              <a:ext cx="2418134" cy="265187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4" name="Овал 138"/>
            <p:cNvSpPr>
              <a:spLocks noChangeAspect="1"/>
            </p:cNvSpPr>
            <p:nvPr/>
          </p:nvSpPr>
          <p:spPr>
            <a:xfrm rot="7568874">
              <a:off x="5395170" y="2195502"/>
              <a:ext cx="2664884" cy="292247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5" name="Овал 138"/>
            <p:cNvSpPr>
              <a:spLocks noChangeAspect="1"/>
            </p:cNvSpPr>
            <p:nvPr/>
          </p:nvSpPr>
          <p:spPr>
            <a:xfrm rot="7568874">
              <a:off x="5271796" y="2060203"/>
              <a:ext cx="2911633" cy="319307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6" name="Овал 138"/>
            <p:cNvSpPr>
              <a:spLocks noChangeAspect="1"/>
            </p:cNvSpPr>
            <p:nvPr/>
          </p:nvSpPr>
          <p:spPr>
            <a:xfrm rot="7568874">
              <a:off x="5148422" y="1924902"/>
              <a:ext cx="3158381" cy="346367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7" name="Овал 138"/>
            <p:cNvSpPr>
              <a:spLocks noChangeAspect="1"/>
            </p:cNvSpPr>
            <p:nvPr/>
          </p:nvSpPr>
          <p:spPr>
            <a:xfrm rot="7568874">
              <a:off x="5025047" y="1789602"/>
              <a:ext cx="3405130" cy="373427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8" name="Овал 138"/>
            <p:cNvSpPr>
              <a:spLocks noChangeAspect="1"/>
            </p:cNvSpPr>
            <p:nvPr/>
          </p:nvSpPr>
          <p:spPr>
            <a:xfrm rot="7568874">
              <a:off x="4901673" y="1654303"/>
              <a:ext cx="3651879" cy="40048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9" name="Овал 138"/>
            <p:cNvSpPr>
              <a:spLocks noChangeAspect="1"/>
            </p:cNvSpPr>
            <p:nvPr/>
          </p:nvSpPr>
          <p:spPr>
            <a:xfrm rot="7568874">
              <a:off x="4778300" y="1519003"/>
              <a:ext cx="3898624" cy="42754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0" name="Овал 138"/>
            <p:cNvSpPr>
              <a:spLocks noChangeAspect="1"/>
            </p:cNvSpPr>
            <p:nvPr/>
          </p:nvSpPr>
          <p:spPr>
            <a:xfrm rot="7568874">
              <a:off x="4654925" y="1383703"/>
              <a:ext cx="4145374" cy="45460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1" name="Овал 138"/>
            <p:cNvSpPr>
              <a:spLocks noChangeAspect="1"/>
            </p:cNvSpPr>
            <p:nvPr/>
          </p:nvSpPr>
          <p:spPr>
            <a:xfrm rot="7568874">
              <a:off x="4531552" y="1248403"/>
              <a:ext cx="4392120" cy="48166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2" name="Овал 138"/>
            <p:cNvSpPr>
              <a:spLocks noChangeAspect="1"/>
            </p:cNvSpPr>
            <p:nvPr/>
          </p:nvSpPr>
          <p:spPr>
            <a:xfrm rot="7568874">
              <a:off x="4408177" y="1113104"/>
              <a:ext cx="4638870" cy="50872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3" name="Овал 138"/>
            <p:cNvSpPr>
              <a:spLocks noChangeAspect="1"/>
            </p:cNvSpPr>
            <p:nvPr/>
          </p:nvSpPr>
          <p:spPr>
            <a:xfrm rot="7568874">
              <a:off x="4284803" y="977803"/>
              <a:ext cx="4885618" cy="53578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4" name="Овал 138"/>
            <p:cNvSpPr>
              <a:spLocks noChangeAspect="1"/>
            </p:cNvSpPr>
            <p:nvPr/>
          </p:nvSpPr>
          <p:spPr>
            <a:xfrm rot="7568874">
              <a:off x="4161429" y="842504"/>
              <a:ext cx="5132366" cy="56284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5" name="Овал 138"/>
            <p:cNvSpPr>
              <a:spLocks noChangeAspect="1"/>
            </p:cNvSpPr>
            <p:nvPr/>
          </p:nvSpPr>
          <p:spPr>
            <a:xfrm rot="7568874">
              <a:off x="4038055" y="707204"/>
              <a:ext cx="5379115" cy="58990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6" name="Овал 138"/>
            <p:cNvSpPr>
              <a:spLocks noChangeAspect="1"/>
            </p:cNvSpPr>
            <p:nvPr/>
          </p:nvSpPr>
          <p:spPr>
            <a:xfrm rot="7568874">
              <a:off x="3914681" y="571903"/>
              <a:ext cx="5625862" cy="61696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7" name="Овал 138"/>
            <p:cNvSpPr>
              <a:spLocks noChangeAspect="1"/>
            </p:cNvSpPr>
            <p:nvPr/>
          </p:nvSpPr>
          <p:spPr>
            <a:xfrm rot="7568874">
              <a:off x="3791306" y="436604"/>
              <a:ext cx="5872612" cy="64402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8" name="Овал 138"/>
            <p:cNvSpPr>
              <a:spLocks noChangeAspect="1"/>
            </p:cNvSpPr>
            <p:nvPr/>
          </p:nvSpPr>
          <p:spPr>
            <a:xfrm rot="7568874">
              <a:off x="3667932" y="301304"/>
              <a:ext cx="6119360" cy="67108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59" name="Овал 138"/>
            <p:cNvSpPr>
              <a:spLocks noChangeAspect="1"/>
            </p:cNvSpPr>
            <p:nvPr/>
          </p:nvSpPr>
          <p:spPr>
            <a:xfrm rot="7568874">
              <a:off x="3544558" y="166005"/>
              <a:ext cx="6366108" cy="69814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0" name="Овал 138"/>
            <p:cNvSpPr>
              <a:spLocks noChangeAspect="1"/>
            </p:cNvSpPr>
            <p:nvPr/>
          </p:nvSpPr>
          <p:spPr>
            <a:xfrm rot="7568874">
              <a:off x="3421184" y="30704"/>
              <a:ext cx="6612857" cy="725207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1" name="Овал 138"/>
            <p:cNvSpPr>
              <a:spLocks noChangeAspect="1"/>
            </p:cNvSpPr>
            <p:nvPr/>
          </p:nvSpPr>
          <p:spPr>
            <a:xfrm rot="7568874">
              <a:off x="3297810" y="-104595"/>
              <a:ext cx="6859604" cy="75226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2" name="Овал 138"/>
            <p:cNvSpPr>
              <a:spLocks noChangeAspect="1"/>
            </p:cNvSpPr>
            <p:nvPr/>
          </p:nvSpPr>
          <p:spPr>
            <a:xfrm rot="7568874">
              <a:off x="3174435" y="-239895"/>
              <a:ext cx="7106354" cy="77932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3" name="Овал 138"/>
            <p:cNvSpPr>
              <a:spLocks noChangeAspect="1"/>
            </p:cNvSpPr>
            <p:nvPr/>
          </p:nvSpPr>
          <p:spPr>
            <a:xfrm rot="7568874">
              <a:off x="3051061" y="-375195"/>
              <a:ext cx="7353102" cy="80638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4" name="Овал 138"/>
            <p:cNvSpPr>
              <a:spLocks noChangeAspect="1"/>
            </p:cNvSpPr>
            <p:nvPr/>
          </p:nvSpPr>
          <p:spPr>
            <a:xfrm rot="7568874">
              <a:off x="2927687" y="-510495"/>
              <a:ext cx="7599850" cy="83344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2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53000">
                    <a:schemeClr val="accent4">
                      <a:lumMod val="45000"/>
                      <a:lumOff val="55000"/>
                      <a:alpha val="4000"/>
                    </a:schemeClr>
                  </a:gs>
                  <a:gs pos="84000">
                    <a:schemeClr val="accent4">
                      <a:lumMod val="30000"/>
                      <a:lumOff val="70000"/>
                      <a:alpha val="7000"/>
                    </a:schemeClr>
                  </a:gs>
                </a:gsLst>
                <a:lin ang="48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5" name="Овал 64"/>
          <p:cNvSpPr/>
          <p:nvPr userDrawn="1"/>
        </p:nvSpPr>
        <p:spPr>
          <a:xfrm>
            <a:off x="9133627" y="4967043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2000">
                <a:schemeClr val="accent1">
                  <a:alpha val="37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84" name="Группа 83"/>
          <p:cNvGrpSpPr/>
          <p:nvPr userDrawn="1"/>
        </p:nvGrpSpPr>
        <p:grpSpPr>
          <a:xfrm rot="17711419">
            <a:off x="5774478" y="2266470"/>
            <a:ext cx="9768289" cy="9394172"/>
            <a:chOff x="2560375" y="-143183"/>
            <a:chExt cx="8334473" cy="7599850"/>
          </a:xfrm>
        </p:grpSpPr>
        <p:sp>
          <p:nvSpPr>
            <p:cNvPr id="85" name="Овал 138"/>
            <p:cNvSpPr>
              <a:spLocks noChangeAspect="1"/>
            </p:cNvSpPr>
            <p:nvPr/>
          </p:nvSpPr>
          <p:spPr>
            <a:xfrm rot="7568874">
              <a:off x="5518545" y="2330803"/>
              <a:ext cx="2418134" cy="265187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6" name="Овал 138"/>
            <p:cNvSpPr>
              <a:spLocks noChangeAspect="1"/>
            </p:cNvSpPr>
            <p:nvPr/>
          </p:nvSpPr>
          <p:spPr>
            <a:xfrm rot="7568874">
              <a:off x="5395170" y="2195502"/>
              <a:ext cx="2664884" cy="292247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7" name="Овал 138"/>
            <p:cNvSpPr>
              <a:spLocks noChangeAspect="1"/>
            </p:cNvSpPr>
            <p:nvPr/>
          </p:nvSpPr>
          <p:spPr>
            <a:xfrm rot="7568874">
              <a:off x="5271796" y="2060203"/>
              <a:ext cx="2911633" cy="319307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8" name="Овал 138"/>
            <p:cNvSpPr>
              <a:spLocks noChangeAspect="1"/>
            </p:cNvSpPr>
            <p:nvPr/>
          </p:nvSpPr>
          <p:spPr>
            <a:xfrm rot="7568874">
              <a:off x="5148422" y="1924902"/>
              <a:ext cx="3158381" cy="346367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9" name="Овал 138"/>
            <p:cNvSpPr>
              <a:spLocks noChangeAspect="1"/>
            </p:cNvSpPr>
            <p:nvPr/>
          </p:nvSpPr>
          <p:spPr>
            <a:xfrm rot="7568874">
              <a:off x="5025047" y="1789602"/>
              <a:ext cx="3405130" cy="3734278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0" name="Овал 138"/>
            <p:cNvSpPr>
              <a:spLocks noChangeAspect="1"/>
            </p:cNvSpPr>
            <p:nvPr/>
          </p:nvSpPr>
          <p:spPr>
            <a:xfrm rot="7568874">
              <a:off x="4901673" y="1654303"/>
              <a:ext cx="3651879" cy="40048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1" name="Овал 138"/>
            <p:cNvSpPr>
              <a:spLocks noChangeAspect="1"/>
            </p:cNvSpPr>
            <p:nvPr/>
          </p:nvSpPr>
          <p:spPr>
            <a:xfrm rot="7568874">
              <a:off x="4778300" y="1519003"/>
              <a:ext cx="3898624" cy="42754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2" name="Овал 138"/>
            <p:cNvSpPr>
              <a:spLocks noChangeAspect="1"/>
            </p:cNvSpPr>
            <p:nvPr/>
          </p:nvSpPr>
          <p:spPr>
            <a:xfrm rot="7568874">
              <a:off x="4654925" y="1383703"/>
              <a:ext cx="4145374" cy="45460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3" name="Овал 138"/>
            <p:cNvSpPr>
              <a:spLocks noChangeAspect="1"/>
            </p:cNvSpPr>
            <p:nvPr/>
          </p:nvSpPr>
          <p:spPr>
            <a:xfrm rot="7568874">
              <a:off x="4531552" y="1248403"/>
              <a:ext cx="4392120" cy="48166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4" name="Овал 138"/>
            <p:cNvSpPr>
              <a:spLocks noChangeAspect="1"/>
            </p:cNvSpPr>
            <p:nvPr/>
          </p:nvSpPr>
          <p:spPr>
            <a:xfrm rot="7568874">
              <a:off x="4408177" y="1113104"/>
              <a:ext cx="4638870" cy="50872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5" name="Овал 138"/>
            <p:cNvSpPr>
              <a:spLocks noChangeAspect="1"/>
            </p:cNvSpPr>
            <p:nvPr/>
          </p:nvSpPr>
          <p:spPr>
            <a:xfrm rot="7568874">
              <a:off x="4284803" y="977803"/>
              <a:ext cx="4885618" cy="53578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6" name="Овал 138"/>
            <p:cNvSpPr>
              <a:spLocks noChangeAspect="1"/>
            </p:cNvSpPr>
            <p:nvPr/>
          </p:nvSpPr>
          <p:spPr>
            <a:xfrm rot="7568874">
              <a:off x="4161429" y="842504"/>
              <a:ext cx="5132366" cy="56284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7" name="Овал 138"/>
            <p:cNvSpPr>
              <a:spLocks noChangeAspect="1"/>
            </p:cNvSpPr>
            <p:nvPr/>
          </p:nvSpPr>
          <p:spPr>
            <a:xfrm rot="7568874">
              <a:off x="4038055" y="707204"/>
              <a:ext cx="5379115" cy="58990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8" name="Овал 138"/>
            <p:cNvSpPr>
              <a:spLocks noChangeAspect="1"/>
            </p:cNvSpPr>
            <p:nvPr/>
          </p:nvSpPr>
          <p:spPr>
            <a:xfrm rot="7568874">
              <a:off x="3914681" y="571903"/>
              <a:ext cx="5625862" cy="61696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9" name="Овал 138"/>
            <p:cNvSpPr>
              <a:spLocks noChangeAspect="1"/>
            </p:cNvSpPr>
            <p:nvPr/>
          </p:nvSpPr>
          <p:spPr>
            <a:xfrm rot="7568874">
              <a:off x="3791306" y="436604"/>
              <a:ext cx="5872612" cy="64402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00" name="Овал 138"/>
            <p:cNvSpPr>
              <a:spLocks noChangeAspect="1"/>
            </p:cNvSpPr>
            <p:nvPr/>
          </p:nvSpPr>
          <p:spPr>
            <a:xfrm rot="7568874">
              <a:off x="3667932" y="301304"/>
              <a:ext cx="6119360" cy="671087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01" name="Овал 138"/>
            <p:cNvSpPr>
              <a:spLocks noChangeAspect="1"/>
            </p:cNvSpPr>
            <p:nvPr/>
          </p:nvSpPr>
          <p:spPr>
            <a:xfrm rot="7568874">
              <a:off x="3544558" y="166005"/>
              <a:ext cx="6366108" cy="69814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02" name="Овал 138"/>
            <p:cNvSpPr>
              <a:spLocks noChangeAspect="1"/>
            </p:cNvSpPr>
            <p:nvPr/>
          </p:nvSpPr>
          <p:spPr>
            <a:xfrm rot="7568874">
              <a:off x="3421184" y="30704"/>
              <a:ext cx="6612857" cy="725207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09" name="Овал 138"/>
            <p:cNvSpPr>
              <a:spLocks noChangeAspect="1"/>
            </p:cNvSpPr>
            <p:nvPr/>
          </p:nvSpPr>
          <p:spPr>
            <a:xfrm rot="7568874">
              <a:off x="3297810" y="-104595"/>
              <a:ext cx="6859604" cy="75226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10" name="Овал 138"/>
            <p:cNvSpPr>
              <a:spLocks noChangeAspect="1"/>
            </p:cNvSpPr>
            <p:nvPr/>
          </p:nvSpPr>
          <p:spPr>
            <a:xfrm rot="7568874">
              <a:off x="3174435" y="-239895"/>
              <a:ext cx="7106354" cy="77932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11" name="Овал 138"/>
            <p:cNvSpPr>
              <a:spLocks noChangeAspect="1"/>
            </p:cNvSpPr>
            <p:nvPr/>
          </p:nvSpPr>
          <p:spPr>
            <a:xfrm rot="7568874">
              <a:off x="3051061" y="-375195"/>
              <a:ext cx="7353102" cy="80638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12" name="Овал 138"/>
            <p:cNvSpPr>
              <a:spLocks noChangeAspect="1"/>
            </p:cNvSpPr>
            <p:nvPr/>
          </p:nvSpPr>
          <p:spPr>
            <a:xfrm rot="7568874">
              <a:off x="2927687" y="-510495"/>
              <a:ext cx="7599850" cy="8334473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0">
                    <a:schemeClr val="accent3">
                      <a:lumMod val="67000"/>
                      <a:alpha val="0"/>
                    </a:schemeClr>
                  </a:gs>
                  <a:gs pos="61000">
                    <a:schemeClr val="accent1">
                      <a:alpha val="41000"/>
                    </a:schemeClr>
                  </a:gs>
                  <a:gs pos="100000">
                    <a:schemeClr val="accent3">
                      <a:lumMod val="60000"/>
                      <a:lumOff val="40000"/>
                      <a:alpha val="0"/>
                    </a:schemeClr>
                  </a:gs>
                </a:gsLst>
                <a:lin ang="102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9327" y="321514"/>
            <a:ext cx="1436246" cy="529636"/>
          </a:xfrm>
          <a:prstGeom prst="rect">
            <a:avLst/>
          </a:prstGeom>
        </p:spPr>
      </p:pic>
      <p:sp>
        <p:nvSpPr>
          <p:cNvPr id="66" name="Текст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370567" y="246063"/>
            <a:ext cx="6336633" cy="1620837"/>
          </a:xfrm>
          <a:prstGeom prst="rect">
            <a:avLst/>
          </a:prstGeom>
        </p:spPr>
        <p:txBody>
          <a:bodyPr/>
          <a:lstStyle>
            <a:lvl1pPr>
              <a:defRPr sz="4000" b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  <a:lvl2pPr>
              <a:defRPr sz="4000">
                <a:latin typeface="Century Gothic" panose="020B0502020202020204" pitchFamily="34" charset="0"/>
              </a:defRPr>
            </a:lvl2pPr>
            <a:lvl3pPr>
              <a:defRPr sz="4000">
                <a:latin typeface="Century Gothic" panose="020B0502020202020204" pitchFamily="34" charset="0"/>
              </a:defRPr>
            </a:lvl3pPr>
            <a:lvl4pPr>
              <a:defRPr sz="4000">
                <a:latin typeface="Century Gothic" panose="020B0502020202020204" pitchFamily="34" charset="0"/>
              </a:defRPr>
            </a:lvl4pPr>
            <a:lvl5pPr>
              <a:defRPr sz="40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ru-RU" dirty="0" smtClean="0"/>
              <a:t>ЗАГОЛОВОК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7884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5_Пуст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44" name="Овал 143"/>
          <p:cNvSpPr/>
          <p:nvPr userDrawn="1"/>
        </p:nvSpPr>
        <p:spPr>
          <a:xfrm>
            <a:off x="4397088" y="3417279"/>
            <a:ext cx="7803166" cy="7803166"/>
          </a:xfrm>
          <a:prstGeom prst="ellipse">
            <a:avLst/>
          </a:prstGeom>
          <a:gradFill flip="none" rotWithShape="1">
            <a:gsLst>
              <a:gs pos="81000">
                <a:schemeClr val="tx2">
                  <a:alpha val="0"/>
                </a:schemeClr>
              </a:gs>
              <a:gs pos="12000">
                <a:schemeClr val="accent2">
                  <a:alpha val="44000"/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146" name="Группа 145"/>
          <p:cNvGrpSpPr/>
          <p:nvPr userDrawn="1"/>
        </p:nvGrpSpPr>
        <p:grpSpPr>
          <a:xfrm rot="491821">
            <a:off x="3180399" y="2401967"/>
            <a:ext cx="10443197" cy="11331297"/>
            <a:chOff x="2813241" y="-467920"/>
            <a:chExt cx="9768289" cy="10598994"/>
          </a:xfrm>
        </p:grpSpPr>
        <p:sp>
          <p:nvSpPr>
            <p:cNvPr id="147" name="Овал 138"/>
            <p:cNvSpPr>
              <a:spLocks noChangeAspect="1"/>
            </p:cNvSpPr>
            <p:nvPr/>
          </p:nvSpPr>
          <p:spPr>
            <a:xfrm rot="3680293">
              <a:off x="6202859" y="-527438"/>
              <a:ext cx="2989055" cy="310809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48" name="Овал 138"/>
            <p:cNvSpPr>
              <a:spLocks noChangeAspect="1"/>
            </p:cNvSpPr>
            <p:nvPr/>
          </p:nvSpPr>
          <p:spPr>
            <a:xfrm rot="3680293">
              <a:off x="6050355" y="-476138"/>
              <a:ext cx="3294062" cy="342524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49" name="Овал 138"/>
            <p:cNvSpPr>
              <a:spLocks noChangeAspect="1"/>
            </p:cNvSpPr>
            <p:nvPr/>
          </p:nvSpPr>
          <p:spPr>
            <a:xfrm rot="3680293">
              <a:off x="5897852" y="-424838"/>
              <a:ext cx="3599069" cy="374239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0" name="Овал 138"/>
            <p:cNvSpPr>
              <a:spLocks noChangeAspect="1"/>
            </p:cNvSpPr>
            <p:nvPr/>
          </p:nvSpPr>
          <p:spPr>
            <a:xfrm rot="3680293">
              <a:off x="5745349" y="-373540"/>
              <a:ext cx="3904074" cy="405955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1" name="Овал 138"/>
            <p:cNvSpPr>
              <a:spLocks noChangeAspect="1"/>
            </p:cNvSpPr>
            <p:nvPr/>
          </p:nvSpPr>
          <p:spPr>
            <a:xfrm rot="3680293">
              <a:off x="5592846" y="-322241"/>
              <a:ext cx="4209080" cy="4376702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2" name="Овал 138"/>
            <p:cNvSpPr>
              <a:spLocks noChangeAspect="1"/>
            </p:cNvSpPr>
            <p:nvPr/>
          </p:nvSpPr>
          <p:spPr>
            <a:xfrm rot="3680293">
              <a:off x="5440343" y="-270941"/>
              <a:ext cx="4514086" cy="4693852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3" name="Овал 138"/>
            <p:cNvSpPr>
              <a:spLocks noChangeAspect="1"/>
            </p:cNvSpPr>
            <p:nvPr/>
          </p:nvSpPr>
          <p:spPr>
            <a:xfrm rot="3680293">
              <a:off x="5287842" y="-219643"/>
              <a:ext cx="4819088" cy="501100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4" name="Овал 138"/>
            <p:cNvSpPr>
              <a:spLocks noChangeAspect="1"/>
            </p:cNvSpPr>
            <p:nvPr/>
          </p:nvSpPr>
          <p:spPr>
            <a:xfrm rot="3680293">
              <a:off x="5135338" y="-168344"/>
              <a:ext cx="5124095" cy="5328157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5" name="Овал 138"/>
            <p:cNvSpPr>
              <a:spLocks noChangeAspect="1"/>
            </p:cNvSpPr>
            <p:nvPr/>
          </p:nvSpPr>
          <p:spPr>
            <a:xfrm rot="3680293">
              <a:off x="4982837" y="-117046"/>
              <a:ext cx="5429098" cy="564531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6" name="Овал 138"/>
            <p:cNvSpPr>
              <a:spLocks noChangeAspect="1"/>
            </p:cNvSpPr>
            <p:nvPr/>
          </p:nvSpPr>
          <p:spPr>
            <a:xfrm rot="3680293">
              <a:off x="4830333" y="-65745"/>
              <a:ext cx="5734106" cy="596246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7" name="Овал 138"/>
            <p:cNvSpPr>
              <a:spLocks noChangeAspect="1"/>
            </p:cNvSpPr>
            <p:nvPr/>
          </p:nvSpPr>
          <p:spPr>
            <a:xfrm rot="3680293">
              <a:off x="4677830" y="-14447"/>
              <a:ext cx="6039111" cy="6279615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8" name="Овал 138"/>
            <p:cNvSpPr>
              <a:spLocks noChangeAspect="1"/>
            </p:cNvSpPr>
            <p:nvPr/>
          </p:nvSpPr>
          <p:spPr>
            <a:xfrm rot="3680293">
              <a:off x="4525328" y="36852"/>
              <a:ext cx="6344116" cy="659676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59" name="Овал 138"/>
            <p:cNvSpPr>
              <a:spLocks noChangeAspect="1"/>
            </p:cNvSpPr>
            <p:nvPr/>
          </p:nvSpPr>
          <p:spPr>
            <a:xfrm rot="3680293">
              <a:off x="4372825" y="88151"/>
              <a:ext cx="6649122" cy="691391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0" name="Овал 138"/>
            <p:cNvSpPr>
              <a:spLocks noChangeAspect="1"/>
            </p:cNvSpPr>
            <p:nvPr/>
          </p:nvSpPr>
          <p:spPr>
            <a:xfrm rot="3680293">
              <a:off x="4220323" y="139450"/>
              <a:ext cx="6954126" cy="7231072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1" name="Овал 138"/>
            <p:cNvSpPr>
              <a:spLocks noChangeAspect="1"/>
            </p:cNvSpPr>
            <p:nvPr/>
          </p:nvSpPr>
          <p:spPr>
            <a:xfrm rot="3680293">
              <a:off x="4067819" y="190750"/>
              <a:ext cx="7259134" cy="754822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2" name="Овал 138"/>
            <p:cNvSpPr>
              <a:spLocks noChangeAspect="1"/>
            </p:cNvSpPr>
            <p:nvPr/>
          </p:nvSpPr>
          <p:spPr>
            <a:xfrm rot="3680293">
              <a:off x="3915317" y="242049"/>
              <a:ext cx="7564139" cy="786537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3" name="Овал 138"/>
            <p:cNvSpPr>
              <a:spLocks noChangeAspect="1"/>
            </p:cNvSpPr>
            <p:nvPr/>
          </p:nvSpPr>
          <p:spPr>
            <a:xfrm rot="3680293">
              <a:off x="3762814" y="293348"/>
              <a:ext cx="7869144" cy="818252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4" name="Овал 138"/>
            <p:cNvSpPr>
              <a:spLocks noChangeAspect="1"/>
            </p:cNvSpPr>
            <p:nvPr/>
          </p:nvSpPr>
          <p:spPr>
            <a:xfrm rot="3680293">
              <a:off x="3610311" y="344647"/>
              <a:ext cx="8174150" cy="8499680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5" name="Овал 138"/>
            <p:cNvSpPr>
              <a:spLocks noChangeAspect="1"/>
            </p:cNvSpPr>
            <p:nvPr/>
          </p:nvSpPr>
          <p:spPr>
            <a:xfrm rot="3680293">
              <a:off x="3457809" y="395946"/>
              <a:ext cx="8479154" cy="8816831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6" name="Овал 138"/>
            <p:cNvSpPr>
              <a:spLocks noChangeAspect="1"/>
            </p:cNvSpPr>
            <p:nvPr/>
          </p:nvSpPr>
          <p:spPr>
            <a:xfrm rot="3680293">
              <a:off x="3305305" y="447246"/>
              <a:ext cx="8784162" cy="9133984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7" name="Овал 138"/>
            <p:cNvSpPr>
              <a:spLocks noChangeAspect="1"/>
            </p:cNvSpPr>
            <p:nvPr/>
          </p:nvSpPr>
          <p:spPr>
            <a:xfrm rot="3680293">
              <a:off x="3152803" y="498545"/>
              <a:ext cx="9089167" cy="9451136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8" name="Овал 138"/>
            <p:cNvSpPr>
              <a:spLocks noChangeAspect="1"/>
            </p:cNvSpPr>
            <p:nvPr/>
          </p:nvSpPr>
          <p:spPr>
            <a:xfrm rot="3680293">
              <a:off x="3000300" y="549843"/>
              <a:ext cx="9394172" cy="9768289"/>
            </a:xfrm>
            <a:custGeom>
              <a:avLst/>
              <a:gdLst>
                <a:gd name="connsiteX0" fmla="*/ 0 w 1895302"/>
                <a:gd name="connsiteY0" fmla="*/ 1957648 h 3915295"/>
                <a:gd name="connsiteX1" fmla="*/ 947651 w 1895302"/>
                <a:gd name="connsiteY1" fmla="*/ 0 h 3915295"/>
                <a:gd name="connsiteX2" fmla="*/ 1895302 w 1895302"/>
                <a:gd name="connsiteY2" fmla="*/ 1957648 h 3915295"/>
                <a:gd name="connsiteX3" fmla="*/ 947651 w 1895302"/>
                <a:gd name="connsiteY3" fmla="*/ 3915296 h 3915295"/>
                <a:gd name="connsiteX4" fmla="*/ 0 w 1895302"/>
                <a:gd name="connsiteY4" fmla="*/ 1957648 h 3915295"/>
                <a:gd name="connsiteX0" fmla="*/ 0 w 1330036"/>
                <a:gd name="connsiteY0" fmla="*/ 1572125 h 3923659"/>
                <a:gd name="connsiteX1" fmla="*/ 382385 w 1330036"/>
                <a:gd name="connsiteY1" fmla="*/ 5175 h 3923659"/>
                <a:gd name="connsiteX2" fmla="*/ 1330036 w 1330036"/>
                <a:gd name="connsiteY2" fmla="*/ 1962823 h 3923659"/>
                <a:gd name="connsiteX3" fmla="*/ 382385 w 1330036"/>
                <a:gd name="connsiteY3" fmla="*/ 3920471 h 3923659"/>
                <a:gd name="connsiteX4" fmla="*/ 0 w 1330036"/>
                <a:gd name="connsiteY4" fmla="*/ 1572125 h 3923659"/>
                <a:gd name="connsiteX0" fmla="*/ 136229 w 1466265"/>
                <a:gd name="connsiteY0" fmla="*/ 1572125 h 3997339"/>
                <a:gd name="connsiteX1" fmla="*/ 518614 w 1466265"/>
                <a:gd name="connsiteY1" fmla="*/ 5175 h 3997339"/>
                <a:gd name="connsiteX2" fmla="*/ 1466265 w 1466265"/>
                <a:gd name="connsiteY2" fmla="*/ 1962823 h 3997339"/>
                <a:gd name="connsiteX3" fmla="*/ 518614 w 1466265"/>
                <a:gd name="connsiteY3" fmla="*/ 3920471 h 3997339"/>
                <a:gd name="connsiteX4" fmla="*/ 136229 w 1466265"/>
                <a:gd name="connsiteY4" fmla="*/ 1572125 h 3997339"/>
                <a:gd name="connsiteX0" fmla="*/ 0 w 1404850"/>
                <a:gd name="connsiteY0" fmla="*/ 1974280 h 3915309"/>
                <a:gd name="connsiteX1" fmla="*/ 457199 w 1404850"/>
                <a:gd name="connsiteY1" fmla="*/ 7 h 3915309"/>
                <a:gd name="connsiteX2" fmla="*/ 1404850 w 1404850"/>
                <a:gd name="connsiteY2" fmla="*/ 1957655 h 3915309"/>
                <a:gd name="connsiteX3" fmla="*/ 457199 w 1404850"/>
                <a:gd name="connsiteY3" fmla="*/ 3915303 h 3915309"/>
                <a:gd name="connsiteX4" fmla="*/ 0 w 1404850"/>
                <a:gd name="connsiteY4" fmla="*/ 1974280 h 3915309"/>
                <a:gd name="connsiteX0" fmla="*/ 103386 w 1508236"/>
                <a:gd name="connsiteY0" fmla="*/ 1974280 h 3915308"/>
                <a:gd name="connsiteX1" fmla="*/ 560585 w 1508236"/>
                <a:gd name="connsiteY1" fmla="*/ 7 h 3915308"/>
                <a:gd name="connsiteX2" fmla="*/ 1508236 w 1508236"/>
                <a:gd name="connsiteY2" fmla="*/ 1957655 h 3915308"/>
                <a:gd name="connsiteX3" fmla="*/ 560585 w 1508236"/>
                <a:gd name="connsiteY3" fmla="*/ 3915303 h 3915308"/>
                <a:gd name="connsiteX4" fmla="*/ 103386 w 1508236"/>
                <a:gd name="connsiteY4" fmla="*/ 1974280 h 3915308"/>
                <a:gd name="connsiteX0" fmla="*/ 103386 w 1508236"/>
                <a:gd name="connsiteY0" fmla="*/ 2042699 h 3983727"/>
                <a:gd name="connsiteX1" fmla="*/ 560585 w 1508236"/>
                <a:gd name="connsiteY1" fmla="*/ 68426 h 3983727"/>
                <a:gd name="connsiteX2" fmla="*/ 1508236 w 1508236"/>
                <a:gd name="connsiteY2" fmla="*/ 2026074 h 3983727"/>
                <a:gd name="connsiteX3" fmla="*/ 560585 w 1508236"/>
                <a:gd name="connsiteY3" fmla="*/ 3983722 h 3983727"/>
                <a:gd name="connsiteX4" fmla="*/ 103386 w 1508236"/>
                <a:gd name="connsiteY4" fmla="*/ 2042699 h 3983727"/>
                <a:gd name="connsiteX0" fmla="*/ 192525 w 1597375"/>
                <a:gd name="connsiteY0" fmla="*/ 2042699 h 4002749"/>
                <a:gd name="connsiteX1" fmla="*/ 649724 w 1597375"/>
                <a:gd name="connsiteY1" fmla="*/ 68426 h 4002749"/>
                <a:gd name="connsiteX2" fmla="*/ 1597375 w 1597375"/>
                <a:gd name="connsiteY2" fmla="*/ 2026074 h 4002749"/>
                <a:gd name="connsiteX3" fmla="*/ 649724 w 1597375"/>
                <a:gd name="connsiteY3" fmla="*/ 3983722 h 4002749"/>
                <a:gd name="connsiteX4" fmla="*/ 192525 w 1597375"/>
                <a:gd name="connsiteY4" fmla="*/ 2042699 h 4002749"/>
                <a:gd name="connsiteX0" fmla="*/ 112919 w 1434642"/>
                <a:gd name="connsiteY0" fmla="*/ 2116152 h 3916415"/>
                <a:gd name="connsiteX1" fmla="*/ 486991 w 1434642"/>
                <a:gd name="connsiteY1" fmla="*/ 562 h 3916415"/>
                <a:gd name="connsiteX2" fmla="*/ 1434642 w 1434642"/>
                <a:gd name="connsiteY2" fmla="*/ 1958210 h 3916415"/>
                <a:gd name="connsiteX3" fmla="*/ 486991 w 1434642"/>
                <a:gd name="connsiteY3" fmla="*/ 3915858 h 3916415"/>
                <a:gd name="connsiteX4" fmla="*/ 112919 w 1434642"/>
                <a:gd name="connsiteY4" fmla="*/ 2116152 h 3916415"/>
                <a:gd name="connsiteX0" fmla="*/ 130343 w 1452066"/>
                <a:gd name="connsiteY0" fmla="*/ 2116152 h 3916194"/>
                <a:gd name="connsiteX1" fmla="*/ 504415 w 1452066"/>
                <a:gd name="connsiteY1" fmla="*/ 562 h 3916194"/>
                <a:gd name="connsiteX2" fmla="*/ 1452066 w 1452066"/>
                <a:gd name="connsiteY2" fmla="*/ 1958210 h 3916194"/>
                <a:gd name="connsiteX3" fmla="*/ 504415 w 1452066"/>
                <a:gd name="connsiteY3" fmla="*/ 3915858 h 3916194"/>
                <a:gd name="connsiteX4" fmla="*/ 130343 w 1452066"/>
                <a:gd name="connsiteY4" fmla="*/ 2116152 h 3916194"/>
                <a:gd name="connsiteX0" fmla="*/ 366307 w 1695357"/>
                <a:gd name="connsiteY0" fmla="*/ 2116152 h 3915898"/>
                <a:gd name="connsiteX1" fmla="*/ 740379 w 1695357"/>
                <a:gd name="connsiteY1" fmla="*/ 562 h 3915898"/>
                <a:gd name="connsiteX2" fmla="*/ 1688030 w 1695357"/>
                <a:gd name="connsiteY2" fmla="*/ 1958210 h 3915898"/>
                <a:gd name="connsiteX3" fmla="*/ 740379 w 1695357"/>
                <a:gd name="connsiteY3" fmla="*/ 3915858 h 3915898"/>
                <a:gd name="connsiteX4" fmla="*/ 366307 w 1695357"/>
                <a:gd name="connsiteY4" fmla="*/ 2116152 h 3915898"/>
                <a:gd name="connsiteX0" fmla="*/ 404054 w 1748116"/>
                <a:gd name="connsiteY0" fmla="*/ 2116152 h 3925595"/>
                <a:gd name="connsiteX1" fmla="*/ 778126 w 1748116"/>
                <a:gd name="connsiteY1" fmla="*/ 562 h 3925595"/>
                <a:gd name="connsiteX2" fmla="*/ 1725777 w 1748116"/>
                <a:gd name="connsiteY2" fmla="*/ 1958210 h 3925595"/>
                <a:gd name="connsiteX3" fmla="*/ 778126 w 1748116"/>
                <a:gd name="connsiteY3" fmla="*/ 3915858 h 3925595"/>
                <a:gd name="connsiteX4" fmla="*/ 404054 w 1748116"/>
                <a:gd name="connsiteY4" fmla="*/ 2116152 h 3925595"/>
                <a:gd name="connsiteX0" fmla="*/ 404054 w 1748116"/>
                <a:gd name="connsiteY0" fmla="*/ 2198227 h 4007670"/>
                <a:gd name="connsiteX1" fmla="*/ 778126 w 1748116"/>
                <a:gd name="connsiteY1" fmla="*/ 82637 h 4007670"/>
                <a:gd name="connsiteX2" fmla="*/ 1725777 w 1748116"/>
                <a:gd name="connsiteY2" fmla="*/ 2040285 h 4007670"/>
                <a:gd name="connsiteX3" fmla="*/ 778126 w 1748116"/>
                <a:gd name="connsiteY3" fmla="*/ 3997933 h 4007670"/>
                <a:gd name="connsiteX4" fmla="*/ 404054 w 1748116"/>
                <a:gd name="connsiteY4" fmla="*/ 2198227 h 4007670"/>
                <a:gd name="connsiteX0" fmla="*/ 88900 w 1867823"/>
                <a:gd name="connsiteY0" fmla="*/ 2512287 h 3926249"/>
                <a:gd name="connsiteX1" fmla="*/ 920172 w 1867823"/>
                <a:gd name="connsiteY1" fmla="*/ 5998 h 3926249"/>
                <a:gd name="connsiteX2" fmla="*/ 1867823 w 1867823"/>
                <a:gd name="connsiteY2" fmla="*/ 1963646 h 3926249"/>
                <a:gd name="connsiteX3" fmla="*/ 920172 w 1867823"/>
                <a:gd name="connsiteY3" fmla="*/ 3921294 h 3926249"/>
                <a:gd name="connsiteX4" fmla="*/ 88900 w 1867823"/>
                <a:gd name="connsiteY4" fmla="*/ 2512287 h 3926249"/>
                <a:gd name="connsiteX0" fmla="*/ 343504 w 2122427"/>
                <a:gd name="connsiteY0" fmla="*/ 2512287 h 3931499"/>
                <a:gd name="connsiteX1" fmla="*/ 1174776 w 2122427"/>
                <a:gd name="connsiteY1" fmla="*/ 5998 h 3931499"/>
                <a:gd name="connsiteX2" fmla="*/ 2122427 w 2122427"/>
                <a:gd name="connsiteY2" fmla="*/ 1963646 h 3931499"/>
                <a:gd name="connsiteX3" fmla="*/ 1174776 w 2122427"/>
                <a:gd name="connsiteY3" fmla="*/ 3921294 h 3931499"/>
                <a:gd name="connsiteX4" fmla="*/ 343504 w 2122427"/>
                <a:gd name="connsiteY4" fmla="*/ 2512287 h 3931499"/>
                <a:gd name="connsiteX0" fmla="*/ 449123 w 1579653"/>
                <a:gd name="connsiteY0" fmla="*/ 1750901 h 3917322"/>
                <a:gd name="connsiteX1" fmla="*/ 632002 w 1579653"/>
                <a:gd name="connsiteY1" fmla="*/ 1070 h 3917322"/>
                <a:gd name="connsiteX2" fmla="*/ 1579653 w 1579653"/>
                <a:gd name="connsiteY2" fmla="*/ 1958718 h 3917322"/>
                <a:gd name="connsiteX3" fmla="*/ 632002 w 1579653"/>
                <a:gd name="connsiteY3" fmla="*/ 3916366 h 3917322"/>
                <a:gd name="connsiteX4" fmla="*/ 449123 w 1579653"/>
                <a:gd name="connsiteY4" fmla="*/ 1750901 h 3917322"/>
                <a:gd name="connsiteX0" fmla="*/ 40368 w 1170898"/>
                <a:gd name="connsiteY0" fmla="*/ 1750921 h 3917342"/>
                <a:gd name="connsiteX1" fmla="*/ 223247 w 1170898"/>
                <a:gd name="connsiteY1" fmla="*/ 1090 h 3917342"/>
                <a:gd name="connsiteX2" fmla="*/ 1170898 w 1170898"/>
                <a:gd name="connsiteY2" fmla="*/ 1958738 h 3917342"/>
                <a:gd name="connsiteX3" fmla="*/ 223247 w 1170898"/>
                <a:gd name="connsiteY3" fmla="*/ 3916386 h 3917342"/>
                <a:gd name="connsiteX4" fmla="*/ 40368 w 1170898"/>
                <a:gd name="connsiteY4" fmla="*/ 1750921 h 3917342"/>
                <a:gd name="connsiteX0" fmla="*/ 157980 w 1288510"/>
                <a:gd name="connsiteY0" fmla="*/ 1836150 h 4002571"/>
                <a:gd name="connsiteX1" fmla="*/ 340859 w 1288510"/>
                <a:gd name="connsiteY1" fmla="*/ 86319 h 4002571"/>
                <a:gd name="connsiteX2" fmla="*/ 1288510 w 1288510"/>
                <a:gd name="connsiteY2" fmla="*/ 2043967 h 4002571"/>
                <a:gd name="connsiteX3" fmla="*/ 340859 w 1288510"/>
                <a:gd name="connsiteY3" fmla="*/ 4001615 h 4002571"/>
                <a:gd name="connsiteX4" fmla="*/ 157980 w 1288510"/>
                <a:gd name="connsiteY4" fmla="*/ 1836150 h 4002571"/>
                <a:gd name="connsiteX0" fmla="*/ 667367 w 1978946"/>
                <a:gd name="connsiteY0" fmla="*/ 1836150 h 4112755"/>
                <a:gd name="connsiteX1" fmla="*/ 850246 w 1978946"/>
                <a:gd name="connsiteY1" fmla="*/ 86319 h 4112755"/>
                <a:gd name="connsiteX2" fmla="*/ 1797897 w 1978946"/>
                <a:gd name="connsiteY2" fmla="*/ 2043967 h 4112755"/>
                <a:gd name="connsiteX3" fmla="*/ 850246 w 1978946"/>
                <a:gd name="connsiteY3" fmla="*/ 4001615 h 4112755"/>
                <a:gd name="connsiteX4" fmla="*/ 667367 w 1978946"/>
                <a:gd name="connsiteY4" fmla="*/ 1836150 h 4112755"/>
                <a:gd name="connsiteX0" fmla="*/ 652544 w 1964123"/>
                <a:gd name="connsiteY0" fmla="*/ 1812819 h 4089424"/>
                <a:gd name="connsiteX1" fmla="*/ 835423 w 1964123"/>
                <a:gd name="connsiteY1" fmla="*/ 62988 h 4089424"/>
                <a:gd name="connsiteX2" fmla="*/ 1783074 w 1964123"/>
                <a:gd name="connsiteY2" fmla="*/ 2020636 h 4089424"/>
                <a:gd name="connsiteX3" fmla="*/ 835423 w 1964123"/>
                <a:gd name="connsiteY3" fmla="*/ 3978284 h 4089424"/>
                <a:gd name="connsiteX4" fmla="*/ 652544 w 1964123"/>
                <a:gd name="connsiteY4" fmla="*/ 1812819 h 4089424"/>
                <a:gd name="connsiteX0" fmla="*/ 1086236 w 2226793"/>
                <a:gd name="connsiteY0" fmla="*/ 1816358 h 3310180"/>
                <a:gd name="connsiteX1" fmla="*/ 1269115 w 2226793"/>
                <a:gd name="connsiteY1" fmla="*/ 66527 h 3310180"/>
                <a:gd name="connsiteX2" fmla="*/ 2216766 w 2226793"/>
                <a:gd name="connsiteY2" fmla="*/ 2024175 h 3310180"/>
                <a:gd name="connsiteX3" fmla="*/ 703850 w 2226793"/>
                <a:gd name="connsiteY3" fmla="*/ 3108987 h 3310180"/>
                <a:gd name="connsiteX4" fmla="*/ 1086236 w 2226793"/>
                <a:gd name="connsiteY4" fmla="*/ 1816358 h 3310180"/>
                <a:gd name="connsiteX0" fmla="*/ 412390 w 1542920"/>
                <a:gd name="connsiteY0" fmla="*/ 1816358 h 3400091"/>
                <a:gd name="connsiteX1" fmla="*/ 595269 w 1542920"/>
                <a:gd name="connsiteY1" fmla="*/ 66527 h 3400091"/>
                <a:gd name="connsiteX2" fmla="*/ 1542920 w 1542920"/>
                <a:gd name="connsiteY2" fmla="*/ 2024175 h 3400091"/>
                <a:gd name="connsiteX3" fmla="*/ 30004 w 1542920"/>
                <a:gd name="connsiteY3" fmla="*/ 3108987 h 3400091"/>
                <a:gd name="connsiteX4" fmla="*/ 412390 w 1542920"/>
                <a:gd name="connsiteY4" fmla="*/ 1816358 h 3400091"/>
                <a:gd name="connsiteX0" fmla="*/ 445744 w 1908784"/>
                <a:gd name="connsiteY0" fmla="*/ 1761205 h 3324451"/>
                <a:gd name="connsiteX1" fmla="*/ 628623 w 1908784"/>
                <a:gd name="connsiteY1" fmla="*/ 11374 h 3324451"/>
                <a:gd name="connsiteX2" fmla="*/ 1908784 w 1908784"/>
                <a:gd name="connsiteY2" fmla="*/ 2667291 h 3324451"/>
                <a:gd name="connsiteX3" fmla="*/ 63358 w 1908784"/>
                <a:gd name="connsiteY3" fmla="*/ 3053834 h 3324451"/>
                <a:gd name="connsiteX4" fmla="*/ 445744 w 1908784"/>
                <a:gd name="connsiteY4" fmla="*/ 1761205 h 3324451"/>
                <a:gd name="connsiteX0" fmla="*/ 445744 w 1908784"/>
                <a:gd name="connsiteY0" fmla="*/ 1752203 h 3315449"/>
                <a:gd name="connsiteX1" fmla="*/ 628623 w 1908784"/>
                <a:gd name="connsiteY1" fmla="*/ 2372 h 3315449"/>
                <a:gd name="connsiteX2" fmla="*/ 1908784 w 1908784"/>
                <a:gd name="connsiteY2" fmla="*/ 2658289 h 3315449"/>
                <a:gd name="connsiteX3" fmla="*/ 63358 w 1908784"/>
                <a:gd name="connsiteY3" fmla="*/ 3044832 h 3315449"/>
                <a:gd name="connsiteX4" fmla="*/ 445744 w 1908784"/>
                <a:gd name="connsiteY4" fmla="*/ 1752203 h 3315449"/>
                <a:gd name="connsiteX0" fmla="*/ 445744 w 1908784"/>
                <a:gd name="connsiteY0" fmla="*/ 1760084 h 3323330"/>
                <a:gd name="connsiteX1" fmla="*/ 628623 w 1908784"/>
                <a:gd name="connsiteY1" fmla="*/ 10253 h 3323330"/>
                <a:gd name="connsiteX2" fmla="*/ 1908784 w 1908784"/>
                <a:gd name="connsiteY2" fmla="*/ 2666170 h 3323330"/>
                <a:gd name="connsiteX3" fmla="*/ 63358 w 1908784"/>
                <a:gd name="connsiteY3" fmla="*/ 3052713 h 3323330"/>
                <a:gd name="connsiteX4" fmla="*/ 445744 w 1908784"/>
                <a:gd name="connsiteY4" fmla="*/ 1760084 h 3323330"/>
                <a:gd name="connsiteX0" fmla="*/ 418466 w 1881506"/>
                <a:gd name="connsiteY0" fmla="*/ 1761406 h 3324652"/>
                <a:gd name="connsiteX1" fmla="*/ 601345 w 1881506"/>
                <a:gd name="connsiteY1" fmla="*/ 11575 h 3324652"/>
                <a:gd name="connsiteX2" fmla="*/ 1881506 w 1881506"/>
                <a:gd name="connsiteY2" fmla="*/ 2667492 h 3324652"/>
                <a:gd name="connsiteX3" fmla="*/ 36080 w 1881506"/>
                <a:gd name="connsiteY3" fmla="*/ 3054035 h 3324652"/>
                <a:gd name="connsiteX4" fmla="*/ 418466 w 1881506"/>
                <a:gd name="connsiteY4" fmla="*/ 1761406 h 3324652"/>
                <a:gd name="connsiteX0" fmla="*/ 528168 w 1991208"/>
                <a:gd name="connsiteY0" fmla="*/ 1761406 h 3529876"/>
                <a:gd name="connsiteX1" fmla="*/ 711047 w 1991208"/>
                <a:gd name="connsiteY1" fmla="*/ 11575 h 3529876"/>
                <a:gd name="connsiteX2" fmla="*/ 1991208 w 1991208"/>
                <a:gd name="connsiteY2" fmla="*/ 2667492 h 3529876"/>
                <a:gd name="connsiteX3" fmla="*/ 145782 w 1991208"/>
                <a:gd name="connsiteY3" fmla="*/ 3054035 h 3529876"/>
                <a:gd name="connsiteX4" fmla="*/ 528168 w 1991208"/>
                <a:gd name="connsiteY4" fmla="*/ 1761406 h 3529876"/>
                <a:gd name="connsiteX0" fmla="*/ 265873 w 1895168"/>
                <a:gd name="connsiteY0" fmla="*/ 1121234 h 3415865"/>
                <a:gd name="connsiteX1" fmla="*/ 615007 w 1895168"/>
                <a:gd name="connsiteY1" fmla="*/ 61360 h 3415865"/>
                <a:gd name="connsiteX2" fmla="*/ 1895168 w 1895168"/>
                <a:gd name="connsiteY2" fmla="*/ 2717277 h 3415865"/>
                <a:gd name="connsiteX3" fmla="*/ 49742 w 1895168"/>
                <a:gd name="connsiteY3" fmla="*/ 3103820 h 3415865"/>
                <a:gd name="connsiteX4" fmla="*/ 265873 w 1895168"/>
                <a:gd name="connsiteY4" fmla="*/ 1121234 h 3415865"/>
                <a:gd name="connsiteX0" fmla="*/ 265873 w 1895168"/>
                <a:gd name="connsiteY0" fmla="*/ 1104989 h 3399620"/>
                <a:gd name="connsiteX1" fmla="*/ 615007 w 1895168"/>
                <a:gd name="connsiteY1" fmla="*/ 45115 h 3399620"/>
                <a:gd name="connsiteX2" fmla="*/ 1895168 w 1895168"/>
                <a:gd name="connsiteY2" fmla="*/ 2701032 h 3399620"/>
                <a:gd name="connsiteX3" fmla="*/ 49742 w 1895168"/>
                <a:gd name="connsiteY3" fmla="*/ 3087575 h 3399620"/>
                <a:gd name="connsiteX4" fmla="*/ 265873 w 1895168"/>
                <a:gd name="connsiteY4" fmla="*/ 1104989 h 3399620"/>
                <a:gd name="connsiteX0" fmla="*/ 328867 w 1958162"/>
                <a:gd name="connsiteY0" fmla="*/ 1104989 h 3684391"/>
                <a:gd name="connsiteX1" fmla="*/ 678001 w 1958162"/>
                <a:gd name="connsiteY1" fmla="*/ 45115 h 3684391"/>
                <a:gd name="connsiteX2" fmla="*/ 1958162 w 1958162"/>
                <a:gd name="connsiteY2" fmla="*/ 2701032 h 3684391"/>
                <a:gd name="connsiteX3" fmla="*/ 112736 w 1958162"/>
                <a:gd name="connsiteY3" fmla="*/ 3087575 h 3684391"/>
                <a:gd name="connsiteX4" fmla="*/ 328867 w 1958162"/>
                <a:gd name="connsiteY4" fmla="*/ 1104989 h 3684391"/>
                <a:gd name="connsiteX0" fmla="*/ 330547 w 1959842"/>
                <a:gd name="connsiteY0" fmla="*/ 1145927 h 3725329"/>
                <a:gd name="connsiteX1" fmla="*/ 679681 w 1959842"/>
                <a:gd name="connsiteY1" fmla="*/ 86053 h 3725329"/>
                <a:gd name="connsiteX2" fmla="*/ 1959842 w 1959842"/>
                <a:gd name="connsiteY2" fmla="*/ 2741970 h 3725329"/>
                <a:gd name="connsiteX3" fmla="*/ 114416 w 1959842"/>
                <a:gd name="connsiteY3" fmla="*/ 3128513 h 3725329"/>
                <a:gd name="connsiteX4" fmla="*/ 330547 w 1959842"/>
                <a:gd name="connsiteY4" fmla="*/ 1145927 h 3725329"/>
                <a:gd name="connsiteX0" fmla="*/ 330547 w 2060447"/>
                <a:gd name="connsiteY0" fmla="*/ 1145927 h 3725329"/>
                <a:gd name="connsiteX1" fmla="*/ 679681 w 2060447"/>
                <a:gd name="connsiteY1" fmla="*/ 86053 h 3725329"/>
                <a:gd name="connsiteX2" fmla="*/ 1959842 w 2060447"/>
                <a:gd name="connsiteY2" fmla="*/ 2741970 h 3725329"/>
                <a:gd name="connsiteX3" fmla="*/ 114416 w 2060447"/>
                <a:gd name="connsiteY3" fmla="*/ 3128513 h 3725329"/>
                <a:gd name="connsiteX4" fmla="*/ 330547 w 2060447"/>
                <a:gd name="connsiteY4" fmla="*/ 1145927 h 3725329"/>
                <a:gd name="connsiteX0" fmla="*/ 330547 w 2060447"/>
                <a:gd name="connsiteY0" fmla="*/ 1145927 h 3731588"/>
                <a:gd name="connsiteX1" fmla="*/ 679681 w 2060447"/>
                <a:gd name="connsiteY1" fmla="*/ 86053 h 3731588"/>
                <a:gd name="connsiteX2" fmla="*/ 1959842 w 2060447"/>
                <a:gd name="connsiteY2" fmla="*/ 2741970 h 3731588"/>
                <a:gd name="connsiteX3" fmla="*/ 114416 w 2060447"/>
                <a:gd name="connsiteY3" fmla="*/ 3128513 h 3731588"/>
                <a:gd name="connsiteX4" fmla="*/ 330547 w 2060447"/>
                <a:gd name="connsiteY4" fmla="*/ 1145927 h 3731588"/>
                <a:gd name="connsiteX0" fmla="*/ 330547 w 1959842"/>
                <a:gd name="connsiteY0" fmla="*/ 1145927 h 3731588"/>
                <a:gd name="connsiteX1" fmla="*/ 679681 w 1959842"/>
                <a:gd name="connsiteY1" fmla="*/ 86053 h 3731588"/>
                <a:gd name="connsiteX2" fmla="*/ 1959842 w 1959842"/>
                <a:gd name="connsiteY2" fmla="*/ 2741970 h 3731588"/>
                <a:gd name="connsiteX3" fmla="*/ 114416 w 1959842"/>
                <a:gd name="connsiteY3" fmla="*/ 3128513 h 3731588"/>
                <a:gd name="connsiteX4" fmla="*/ 330547 w 1959842"/>
                <a:gd name="connsiteY4" fmla="*/ 1145927 h 3731588"/>
                <a:gd name="connsiteX0" fmla="*/ 330547 w 2009497"/>
                <a:gd name="connsiteY0" fmla="*/ 1145927 h 3728588"/>
                <a:gd name="connsiteX1" fmla="*/ 679681 w 2009497"/>
                <a:gd name="connsiteY1" fmla="*/ 86053 h 3728588"/>
                <a:gd name="connsiteX2" fmla="*/ 1959842 w 2009497"/>
                <a:gd name="connsiteY2" fmla="*/ 2741970 h 3728588"/>
                <a:gd name="connsiteX3" fmla="*/ 114416 w 2009497"/>
                <a:gd name="connsiteY3" fmla="*/ 3128513 h 3728588"/>
                <a:gd name="connsiteX4" fmla="*/ 330547 w 2009497"/>
                <a:gd name="connsiteY4" fmla="*/ 1145927 h 3728588"/>
                <a:gd name="connsiteX0" fmla="*/ 315217 w 1991804"/>
                <a:gd name="connsiteY0" fmla="*/ 1116319 h 3698980"/>
                <a:gd name="connsiteX1" fmla="*/ 664351 w 1991804"/>
                <a:gd name="connsiteY1" fmla="*/ 56445 h 3698980"/>
                <a:gd name="connsiteX2" fmla="*/ 1944512 w 1991804"/>
                <a:gd name="connsiteY2" fmla="*/ 2712362 h 3698980"/>
                <a:gd name="connsiteX3" fmla="*/ 99086 w 1991804"/>
                <a:gd name="connsiteY3" fmla="*/ 3098905 h 3698980"/>
                <a:gd name="connsiteX4" fmla="*/ 315217 w 1991804"/>
                <a:gd name="connsiteY4" fmla="*/ 1116319 h 3698980"/>
                <a:gd name="connsiteX0" fmla="*/ 285667 w 1962254"/>
                <a:gd name="connsiteY0" fmla="*/ 1089727 h 3672388"/>
                <a:gd name="connsiteX1" fmla="*/ 634801 w 1962254"/>
                <a:gd name="connsiteY1" fmla="*/ 29853 h 3672388"/>
                <a:gd name="connsiteX2" fmla="*/ 1914962 w 1962254"/>
                <a:gd name="connsiteY2" fmla="*/ 2685770 h 3672388"/>
                <a:gd name="connsiteX3" fmla="*/ 69536 w 1962254"/>
                <a:gd name="connsiteY3" fmla="*/ 3072313 h 3672388"/>
                <a:gd name="connsiteX4" fmla="*/ 285667 w 1962254"/>
                <a:gd name="connsiteY4" fmla="*/ 1089727 h 3672388"/>
                <a:gd name="connsiteX0" fmla="*/ 600906 w 2277493"/>
                <a:gd name="connsiteY0" fmla="*/ 1180385 h 3763046"/>
                <a:gd name="connsiteX1" fmla="*/ 950040 w 2277493"/>
                <a:gd name="connsiteY1" fmla="*/ 120511 h 3763046"/>
                <a:gd name="connsiteX2" fmla="*/ 2230201 w 2277493"/>
                <a:gd name="connsiteY2" fmla="*/ 2776428 h 3763046"/>
                <a:gd name="connsiteX3" fmla="*/ 384775 w 2277493"/>
                <a:gd name="connsiteY3" fmla="*/ 3162971 h 3763046"/>
                <a:gd name="connsiteX4" fmla="*/ 600906 w 2277493"/>
                <a:gd name="connsiteY4" fmla="*/ 1180385 h 3763046"/>
                <a:gd name="connsiteX0" fmla="*/ 682041 w 2373359"/>
                <a:gd name="connsiteY0" fmla="*/ 1382360 h 3965021"/>
                <a:gd name="connsiteX1" fmla="*/ 1031175 w 2373359"/>
                <a:gd name="connsiteY1" fmla="*/ 322486 h 3965021"/>
                <a:gd name="connsiteX2" fmla="*/ 2311336 w 2373359"/>
                <a:gd name="connsiteY2" fmla="*/ 2978403 h 3965021"/>
                <a:gd name="connsiteX3" fmla="*/ 465910 w 2373359"/>
                <a:gd name="connsiteY3" fmla="*/ 3364946 h 3965021"/>
                <a:gd name="connsiteX4" fmla="*/ 682041 w 2373359"/>
                <a:gd name="connsiteY4" fmla="*/ 1382360 h 3965021"/>
                <a:gd name="connsiteX0" fmla="*/ 682041 w 2311664"/>
                <a:gd name="connsiteY0" fmla="*/ 1382360 h 3967856"/>
                <a:gd name="connsiteX1" fmla="*/ 1031175 w 2311664"/>
                <a:gd name="connsiteY1" fmla="*/ 322486 h 3967856"/>
                <a:gd name="connsiteX2" fmla="*/ 2311336 w 2311664"/>
                <a:gd name="connsiteY2" fmla="*/ 2978403 h 3967856"/>
                <a:gd name="connsiteX3" fmla="*/ 465910 w 2311664"/>
                <a:gd name="connsiteY3" fmla="*/ 3364946 h 3967856"/>
                <a:gd name="connsiteX4" fmla="*/ 682041 w 2311664"/>
                <a:gd name="connsiteY4" fmla="*/ 1382360 h 3967856"/>
                <a:gd name="connsiteX0" fmla="*/ 489523 w 2119146"/>
                <a:gd name="connsiteY0" fmla="*/ 1267513 h 3853009"/>
                <a:gd name="connsiteX1" fmla="*/ 838657 w 2119146"/>
                <a:gd name="connsiteY1" fmla="*/ 207639 h 3853009"/>
                <a:gd name="connsiteX2" fmla="*/ 2118818 w 2119146"/>
                <a:gd name="connsiteY2" fmla="*/ 2863556 h 3853009"/>
                <a:gd name="connsiteX3" fmla="*/ 273392 w 2119146"/>
                <a:gd name="connsiteY3" fmla="*/ 3250099 h 3853009"/>
                <a:gd name="connsiteX4" fmla="*/ 489523 w 2119146"/>
                <a:gd name="connsiteY4" fmla="*/ 1267513 h 3853009"/>
                <a:gd name="connsiteX0" fmla="*/ 269632 w 2523109"/>
                <a:gd name="connsiteY0" fmla="*/ 690600 h 3642857"/>
                <a:gd name="connsiteX1" fmla="*/ 1242778 w 2523109"/>
                <a:gd name="connsiteY1" fmla="*/ 249740 h 3642857"/>
                <a:gd name="connsiteX2" fmla="*/ 2522939 w 2523109"/>
                <a:gd name="connsiteY2" fmla="*/ 2905657 h 3642857"/>
                <a:gd name="connsiteX3" fmla="*/ 677513 w 2523109"/>
                <a:gd name="connsiteY3" fmla="*/ 3292200 h 3642857"/>
                <a:gd name="connsiteX4" fmla="*/ 269632 w 2523109"/>
                <a:gd name="connsiteY4" fmla="*/ 690600 h 3642857"/>
                <a:gd name="connsiteX0" fmla="*/ 299187 w 2552721"/>
                <a:gd name="connsiteY0" fmla="*/ 811330 h 3763587"/>
                <a:gd name="connsiteX1" fmla="*/ 1272333 w 2552721"/>
                <a:gd name="connsiteY1" fmla="*/ 370470 h 3763587"/>
                <a:gd name="connsiteX2" fmla="*/ 2552494 w 2552721"/>
                <a:gd name="connsiteY2" fmla="*/ 3026387 h 3763587"/>
                <a:gd name="connsiteX3" fmla="*/ 707068 w 2552721"/>
                <a:gd name="connsiteY3" fmla="*/ 3412930 h 3763587"/>
                <a:gd name="connsiteX4" fmla="*/ 299187 w 2552721"/>
                <a:gd name="connsiteY4" fmla="*/ 811330 h 3763587"/>
                <a:gd name="connsiteX0" fmla="*/ 299187 w 2552721"/>
                <a:gd name="connsiteY0" fmla="*/ 811330 h 3971399"/>
                <a:gd name="connsiteX1" fmla="*/ 1272333 w 2552721"/>
                <a:gd name="connsiteY1" fmla="*/ 370470 h 3971399"/>
                <a:gd name="connsiteX2" fmla="*/ 2552494 w 2552721"/>
                <a:gd name="connsiteY2" fmla="*/ 3026387 h 3971399"/>
                <a:gd name="connsiteX3" fmla="*/ 707068 w 2552721"/>
                <a:gd name="connsiteY3" fmla="*/ 3412930 h 3971399"/>
                <a:gd name="connsiteX4" fmla="*/ 299187 w 2552721"/>
                <a:gd name="connsiteY4" fmla="*/ 811330 h 3971399"/>
                <a:gd name="connsiteX0" fmla="*/ 474256 w 2727790"/>
                <a:gd name="connsiteY0" fmla="*/ 843328 h 4003397"/>
                <a:gd name="connsiteX1" fmla="*/ 1447402 w 2727790"/>
                <a:gd name="connsiteY1" fmla="*/ 402468 h 4003397"/>
                <a:gd name="connsiteX2" fmla="*/ 2727563 w 2727790"/>
                <a:gd name="connsiteY2" fmla="*/ 3058385 h 4003397"/>
                <a:gd name="connsiteX3" fmla="*/ 882137 w 2727790"/>
                <a:gd name="connsiteY3" fmla="*/ 3444928 h 4003397"/>
                <a:gd name="connsiteX4" fmla="*/ 474256 w 2727790"/>
                <a:gd name="connsiteY4" fmla="*/ 843328 h 4003397"/>
                <a:gd name="connsiteX0" fmla="*/ 46201 w 2323238"/>
                <a:gd name="connsiteY0" fmla="*/ 683384 h 3687431"/>
                <a:gd name="connsiteX1" fmla="*/ 1309683 w 2323238"/>
                <a:gd name="connsiteY1" fmla="*/ 299419 h 3687431"/>
                <a:gd name="connsiteX2" fmla="*/ 2299508 w 2323238"/>
                <a:gd name="connsiteY2" fmla="*/ 2898441 h 3687431"/>
                <a:gd name="connsiteX3" fmla="*/ 454082 w 2323238"/>
                <a:gd name="connsiteY3" fmla="*/ 3284984 h 3687431"/>
                <a:gd name="connsiteX4" fmla="*/ 46201 w 2323238"/>
                <a:gd name="connsiteY4" fmla="*/ 683384 h 3687431"/>
                <a:gd name="connsiteX0" fmla="*/ 210426 w 2487463"/>
                <a:gd name="connsiteY0" fmla="*/ 764064 h 3768111"/>
                <a:gd name="connsiteX1" fmla="*/ 1473908 w 2487463"/>
                <a:gd name="connsiteY1" fmla="*/ 380099 h 3768111"/>
                <a:gd name="connsiteX2" fmla="*/ 2463733 w 2487463"/>
                <a:gd name="connsiteY2" fmla="*/ 2979121 h 3768111"/>
                <a:gd name="connsiteX3" fmla="*/ 618307 w 2487463"/>
                <a:gd name="connsiteY3" fmla="*/ 3365664 h 3768111"/>
                <a:gd name="connsiteX4" fmla="*/ 210426 w 2487463"/>
                <a:gd name="connsiteY4" fmla="*/ 764064 h 3768111"/>
                <a:gd name="connsiteX0" fmla="*/ 210426 w 2487463"/>
                <a:gd name="connsiteY0" fmla="*/ 764064 h 3671924"/>
                <a:gd name="connsiteX1" fmla="*/ 1473908 w 2487463"/>
                <a:gd name="connsiteY1" fmla="*/ 380099 h 3671924"/>
                <a:gd name="connsiteX2" fmla="*/ 2463733 w 2487463"/>
                <a:gd name="connsiteY2" fmla="*/ 2979121 h 3671924"/>
                <a:gd name="connsiteX3" fmla="*/ 618307 w 2487463"/>
                <a:gd name="connsiteY3" fmla="*/ 3365664 h 3671924"/>
                <a:gd name="connsiteX4" fmla="*/ 210426 w 2487463"/>
                <a:gd name="connsiteY4" fmla="*/ 764064 h 3671924"/>
                <a:gd name="connsiteX0" fmla="*/ 210426 w 2609664"/>
                <a:gd name="connsiteY0" fmla="*/ 764064 h 3665540"/>
                <a:gd name="connsiteX1" fmla="*/ 1473908 w 2609664"/>
                <a:gd name="connsiteY1" fmla="*/ 380099 h 3665540"/>
                <a:gd name="connsiteX2" fmla="*/ 2463733 w 2609664"/>
                <a:gd name="connsiteY2" fmla="*/ 2979121 h 3665540"/>
                <a:gd name="connsiteX3" fmla="*/ 618307 w 2609664"/>
                <a:gd name="connsiteY3" fmla="*/ 3365664 h 3665540"/>
                <a:gd name="connsiteX4" fmla="*/ 210426 w 2609664"/>
                <a:gd name="connsiteY4" fmla="*/ 764064 h 3665540"/>
                <a:gd name="connsiteX0" fmla="*/ 217681 w 2257315"/>
                <a:gd name="connsiteY0" fmla="*/ 783433 h 3305769"/>
                <a:gd name="connsiteX1" fmla="*/ 1146626 w 2257315"/>
                <a:gd name="connsiteY1" fmla="*/ 169014 h 3305769"/>
                <a:gd name="connsiteX2" fmla="*/ 2136451 w 2257315"/>
                <a:gd name="connsiteY2" fmla="*/ 2768036 h 3305769"/>
                <a:gd name="connsiteX3" fmla="*/ 291025 w 2257315"/>
                <a:gd name="connsiteY3" fmla="*/ 3154579 h 3305769"/>
                <a:gd name="connsiteX4" fmla="*/ 217681 w 2257315"/>
                <a:gd name="connsiteY4" fmla="*/ 783433 h 3305769"/>
                <a:gd name="connsiteX0" fmla="*/ 321529 w 2443010"/>
                <a:gd name="connsiteY0" fmla="*/ 971726 h 3494061"/>
                <a:gd name="connsiteX1" fmla="*/ 1250474 w 2443010"/>
                <a:gd name="connsiteY1" fmla="*/ 357307 h 3494061"/>
                <a:gd name="connsiteX2" fmla="*/ 2240299 w 2443010"/>
                <a:gd name="connsiteY2" fmla="*/ 2956329 h 3494061"/>
                <a:gd name="connsiteX3" fmla="*/ 394873 w 2443010"/>
                <a:gd name="connsiteY3" fmla="*/ 3342872 h 3494061"/>
                <a:gd name="connsiteX4" fmla="*/ 321529 w 2443010"/>
                <a:gd name="connsiteY4" fmla="*/ 971726 h 3494061"/>
                <a:gd name="connsiteX0" fmla="*/ 321529 w 2443010"/>
                <a:gd name="connsiteY0" fmla="*/ 971726 h 3721194"/>
                <a:gd name="connsiteX1" fmla="*/ 1250474 w 2443010"/>
                <a:gd name="connsiteY1" fmla="*/ 357307 h 3721194"/>
                <a:gd name="connsiteX2" fmla="*/ 2240299 w 2443010"/>
                <a:gd name="connsiteY2" fmla="*/ 2956329 h 3721194"/>
                <a:gd name="connsiteX3" fmla="*/ 394873 w 2443010"/>
                <a:gd name="connsiteY3" fmla="*/ 3342872 h 3721194"/>
                <a:gd name="connsiteX4" fmla="*/ 321529 w 2443010"/>
                <a:gd name="connsiteY4" fmla="*/ 971726 h 3721194"/>
                <a:gd name="connsiteX0" fmla="*/ 463487 w 2584968"/>
                <a:gd name="connsiteY0" fmla="*/ 1048179 h 3797647"/>
                <a:gd name="connsiteX1" fmla="*/ 1392432 w 2584968"/>
                <a:gd name="connsiteY1" fmla="*/ 433760 h 3797647"/>
                <a:gd name="connsiteX2" fmla="*/ 2382257 w 2584968"/>
                <a:gd name="connsiteY2" fmla="*/ 3032782 h 3797647"/>
                <a:gd name="connsiteX3" fmla="*/ 536831 w 2584968"/>
                <a:gd name="connsiteY3" fmla="*/ 3419325 h 3797647"/>
                <a:gd name="connsiteX4" fmla="*/ 463487 w 2584968"/>
                <a:gd name="connsiteY4" fmla="*/ 1048179 h 379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4968" h="3797647">
                  <a:moveTo>
                    <a:pt x="463487" y="1048179"/>
                  </a:moveTo>
                  <a:cubicBezTo>
                    <a:pt x="-594978" y="-75412"/>
                    <a:pt x="350370" y="-320669"/>
                    <a:pt x="1392432" y="433760"/>
                  </a:cubicBezTo>
                  <a:cubicBezTo>
                    <a:pt x="2434494" y="1188189"/>
                    <a:pt x="2877330" y="1985665"/>
                    <a:pt x="2382257" y="3032782"/>
                  </a:cubicBezTo>
                  <a:cubicBezTo>
                    <a:pt x="2161009" y="3500739"/>
                    <a:pt x="1128084" y="4261623"/>
                    <a:pt x="536831" y="3419325"/>
                  </a:cubicBezTo>
                  <a:cubicBezTo>
                    <a:pt x="-54422" y="2577027"/>
                    <a:pt x="1521952" y="2171770"/>
                    <a:pt x="463487" y="1048179"/>
                  </a:cubicBezTo>
                  <a:close/>
                </a:path>
              </a:pathLst>
            </a:custGeom>
            <a:noFill/>
            <a:ln w="12700">
              <a:gradFill flip="none" rotWithShape="1">
                <a:gsLst>
                  <a:gs pos="99000">
                    <a:srgbClr val="2A2F45">
                      <a:alpha val="31000"/>
                    </a:srgbClr>
                  </a:gs>
                  <a:gs pos="35145">
                    <a:srgbClr val="84A647">
                      <a:alpha val="33000"/>
                    </a:srgbClr>
                  </a:gs>
                  <a:gs pos="0">
                    <a:schemeClr val="accent3">
                      <a:alpha val="74000"/>
                    </a:schemeClr>
                  </a:gs>
                </a:gsLst>
                <a:lin ang="6000000" scaled="0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9327" y="321514"/>
            <a:ext cx="1436246" cy="529636"/>
          </a:xfrm>
          <a:prstGeom prst="rect">
            <a:avLst/>
          </a:prstGeom>
        </p:spPr>
      </p:pic>
      <p:sp>
        <p:nvSpPr>
          <p:cNvPr id="37" name="Текст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372183" y="358073"/>
            <a:ext cx="7240588" cy="7635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GPN_DIN Regular" panose="020B0504020202020204" pitchFamily="34" charset="-52"/>
                <a:cs typeface="+mn-cs"/>
              </a:rPr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3446497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750" noProof="0" dirty="0" smtClean="0">
                <a:solidFill>
                  <a:schemeClr val="bg2"/>
                </a:solidFill>
              </a:rPr>
              <a:t>Gazprom</a:t>
            </a:r>
            <a:r>
              <a:rPr lang="en-US" sz="75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750" baseline="0" noProof="0" dirty="0" err="1" smtClean="0">
                <a:solidFill>
                  <a:schemeClr val="bg2"/>
                </a:solidFill>
              </a:rPr>
              <a:t>Neft</a:t>
            </a:r>
            <a:endParaRPr lang="ru-RU" sz="750" noProof="0" dirty="0">
              <a:solidFill>
                <a:schemeClr val="bg2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396873" y="6499447"/>
            <a:ext cx="672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750" dirty="0" smtClean="0">
              <a:solidFill>
                <a:schemeClr val="bg2"/>
              </a:solidFill>
            </a:endParaRP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id="{FE01061D-F9E3-46B9-A8CA-B883AD5EF4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7895" y="6408510"/>
            <a:ext cx="84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7D5861A7-B499-4CB1-A677-BAA23D08BB4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2360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26" r:id="rId2"/>
    <p:sldLayoutId id="2147483707" r:id="rId3"/>
    <p:sldLayoutId id="2147483717" r:id="rId4"/>
    <p:sldLayoutId id="2147483708" r:id="rId5"/>
    <p:sldLayoutId id="2147483718" r:id="rId6"/>
    <p:sldLayoutId id="2147483709" r:id="rId7"/>
    <p:sldLayoutId id="2147483719" r:id="rId8"/>
    <p:sldLayoutId id="2147483710" r:id="rId9"/>
    <p:sldLayoutId id="2147483720" r:id="rId10"/>
    <p:sldLayoutId id="2147483711" r:id="rId11"/>
    <p:sldLayoutId id="2147483721" r:id="rId12"/>
    <p:sldLayoutId id="2147483712" r:id="rId13"/>
    <p:sldLayoutId id="2147483723" r:id="rId14"/>
    <p:sldLayoutId id="2147483713" r:id="rId15"/>
    <p:sldLayoutId id="2147483722" r:id="rId16"/>
    <p:sldLayoutId id="2147483725" r:id="rId17"/>
    <p:sldLayoutId id="2147483715" r:id="rId18"/>
    <p:sldLayoutId id="2147483716" r:id="rId19"/>
    <p:sldLayoutId id="2147483714" r:id="rId20"/>
    <p:sldLayoutId id="2147483727" r:id="rId21"/>
    <p:sldLayoutId id="2147483728" r:id="rId22"/>
    <p:sldLayoutId id="2147483729" r:id="rId23"/>
    <p:sldLayoutId id="2147483730" r:id="rId24"/>
    <p:sldLayoutId id="2147483731" r:id="rId25"/>
    <p:sldLayoutId id="2147483732" r:id="rId2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spcBef>
          <a:spcPct val="0"/>
        </a:spcBef>
        <a:buNone/>
        <a:defRPr sz="15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9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05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35731" marR="0" indent="-135731" algn="l" defTabSz="6858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263129" indent="-127397" algn="l" defTabSz="685800" rtl="0" eaLnBrk="1" latinLnBrk="0" hangingPunct="1">
        <a:spcBef>
          <a:spcPts val="450"/>
        </a:spcBef>
        <a:buClr>
          <a:schemeClr val="accent3"/>
        </a:buClr>
        <a:buFont typeface="Wingdings" pitchFamily="2" charset="2"/>
        <a:buChar char="§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FFFFF"/>
          </p15:clr>
        </p15:guide>
        <p15:guide id="2" pos="3250" userDrawn="1">
          <p15:clr>
            <a:srgbClr val="5ACBF0"/>
          </p15:clr>
        </p15:guide>
        <p15:guide id="3" pos="4430" userDrawn="1">
          <p15:clr>
            <a:srgbClr val="5ACBF0"/>
          </p15:clr>
        </p15:guide>
        <p15:guide id="4" pos="5019" userDrawn="1">
          <p15:clr>
            <a:srgbClr val="5ACBF0"/>
          </p15:clr>
        </p15:guide>
        <p15:guide id="5" pos="5609" userDrawn="1">
          <p15:clr>
            <a:srgbClr val="5ACBF0"/>
          </p15:clr>
        </p15:guide>
        <p15:guide id="6" pos="6199" userDrawn="1">
          <p15:clr>
            <a:srgbClr val="5ACBF0"/>
          </p15:clr>
        </p15:guide>
        <p15:guide id="7" pos="6788" userDrawn="1">
          <p15:clr>
            <a:srgbClr val="5ACBF0"/>
          </p15:clr>
        </p15:guide>
        <p15:guide id="8" pos="7378" userDrawn="1">
          <p15:clr>
            <a:srgbClr val="F26B43"/>
          </p15:clr>
        </p15:guide>
        <p15:guide id="9" pos="2661" userDrawn="1">
          <p15:clr>
            <a:srgbClr val="5ACBF0"/>
          </p15:clr>
        </p15:guide>
        <p15:guide id="10" pos="2071" userDrawn="1">
          <p15:clr>
            <a:srgbClr val="5ACBF0"/>
          </p15:clr>
        </p15:guide>
        <p15:guide id="11" pos="1481" userDrawn="1">
          <p15:clr>
            <a:srgbClr val="5ACBF0"/>
          </p15:clr>
        </p15:guide>
        <p15:guide id="12" pos="892" userDrawn="1">
          <p15:clr>
            <a:srgbClr val="5ACBF0"/>
          </p15:clr>
        </p15:guide>
        <p15:guide id="13" pos="302" userDrawn="1">
          <p15:clr>
            <a:srgbClr val="F26B43"/>
          </p15:clr>
        </p15:guide>
        <p15:guide id="14" orient="horz" pos="2160" userDrawn="1">
          <p15:clr>
            <a:srgbClr val="FFFFFF"/>
          </p15:clr>
        </p15:guide>
        <p15:guide id="15" orient="horz" pos="1684" userDrawn="1">
          <p15:clr>
            <a:srgbClr val="5ACBF0"/>
          </p15:clr>
        </p15:guide>
        <p15:guide id="16" orient="horz" pos="1207" userDrawn="1">
          <p15:clr>
            <a:srgbClr val="5ACBF0"/>
          </p15:clr>
        </p15:guide>
        <p15:guide id="17" orient="horz" pos="731" userDrawn="1">
          <p15:clr>
            <a:srgbClr val="5ACBF0"/>
          </p15:clr>
        </p15:guide>
        <p15:guide id="18" orient="horz" pos="255" userDrawn="1">
          <p15:clr>
            <a:srgbClr val="F26B43"/>
          </p15:clr>
        </p15:guide>
        <p15:guide id="19" orient="horz" pos="2636" userDrawn="1">
          <p15:clr>
            <a:srgbClr val="5ACBF0"/>
          </p15:clr>
        </p15:guide>
        <p15:guide id="20" orient="horz" pos="3113" userDrawn="1">
          <p15:clr>
            <a:srgbClr val="5ACBF0"/>
          </p15:clr>
        </p15:guide>
        <p15:guide id="21" orient="horz" pos="3589" userDrawn="1">
          <p15:clr>
            <a:srgbClr val="5ACBF0"/>
          </p15:clr>
        </p15:guide>
        <p15:guide id="22" orient="horz" pos="40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kad.arbitr.ru/Card/bff0a94e-6e20-47db-b9f9-2e47deee96ff" TargetMode="External"/><Relationship Id="rId3" Type="http://schemas.openxmlformats.org/officeDocument/2006/relationships/hyperlink" Target="https://kad.arbitr.ru/Document/Pdf/7b4ec65c-630c-4da2-9012-5fdfc7321f0a/c6d1f669-e584-46d0-8053-eaf23adc6f03/A40-236993-2022_20230317_Opredelenie.pdf?isAddStamp=True" TargetMode="External"/><Relationship Id="rId7" Type="http://schemas.openxmlformats.org/officeDocument/2006/relationships/hyperlink" Target="https://kad.arbitr.ru/Card/0ea693d3-3fbf-4b66-ad1c-bdd02d0f68fb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kad.arbitr.ru/Card/0bc95653-db00-44dc-97a7-03c58001f0a7" TargetMode="External"/><Relationship Id="rId5" Type="http://schemas.openxmlformats.org/officeDocument/2006/relationships/hyperlink" Target="https://kad.arbitr.ru/Card/29ad7bf5-7c56-4145-aff0-1f30d2856832" TargetMode="External"/><Relationship Id="rId10" Type="http://schemas.openxmlformats.org/officeDocument/2006/relationships/hyperlink" Target="https://kad.arbitr.ru/Card/a76dd475-9278-4ba5-836f-a01be98299e6" TargetMode="External"/><Relationship Id="rId4" Type="http://schemas.openxmlformats.org/officeDocument/2006/relationships/hyperlink" Target="https://kad.arbitr.ru/Document/Pdf/6047cdd9-1247-4d04-b76b-bb6f14579d6a/145be1e3-e88d-4285-ba44-e0fe4e16eaa4/A56-129797-2022_20231101_Opredelenie.pdf?isAddStamp=True" TargetMode="External"/><Relationship Id="rId9" Type="http://schemas.openxmlformats.org/officeDocument/2006/relationships/hyperlink" Target="https://kad.arbitr.ru/Document/Pdf/b6f49730-d907-45df-a00c-7bdc84e54964/ae068aa1-3ebb-4690-90f3-b21c49cce652/A43-411-2022_20221017_Opredelenie.pdf?isAddStamp=True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upremecourt.uk/cases/uksc-2024-0015.htm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2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hyperlink" Target="mailto:basovame@sibur.ru" TargetMode="Externa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355311" y="1873936"/>
            <a:ext cx="8073072" cy="757237"/>
          </a:xfrm>
        </p:spPr>
        <p:txBody>
          <a:bodyPr/>
          <a:lstStyle/>
          <a:p>
            <a:r>
              <a:rPr lang="ru-RU" sz="4400" dirty="0" smtClean="0">
                <a:ea typeface="Verdana" panose="020B0604030504040204" pitchFamily="34" charset="0"/>
              </a:rPr>
              <a:t>АРБИТРАЖ </a:t>
            </a:r>
            <a:br>
              <a:rPr lang="ru-RU" sz="4400" dirty="0" smtClean="0">
                <a:ea typeface="Verdana" panose="020B0604030504040204" pitchFamily="34" charset="0"/>
              </a:rPr>
            </a:br>
            <a:r>
              <a:rPr lang="ru-RU" sz="4400" dirty="0" smtClean="0">
                <a:ea typeface="Verdana" panose="020B0604030504040204" pitchFamily="34" charset="0"/>
              </a:rPr>
              <a:t>И СТРУКТУРИРОВАНИЕ АРБИТРАЖНЫХ ОГОВОРОК -  </a:t>
            </a:r>
            <a:r>
              <a:rPr lang="ru-RU" sz="4400" dirty="0" smtClean="0">
                <a:solidFill>
                  <a:schemeClr val="accent1"/>
                </a:solidFill>
                <a:ea typeface="Verdana" panose="020B0604030504040204" pitchFamily="34" charset="0"/>
              </a:rPr>
              <a:t>НОВЫЕ ПРАВИЛА ИГРЫ</a:t>
            </a:r>
            <a:endParaRPr lang="en-US" sz="4400" kern="0" dirty="0">
              <a:solidFill>
                <a:schemeClr val="accent1"/>
              </a:solidFill>
              <a:ea typeface="Verdana" panose="020B0604030504040204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sz="2400" b="1" dirty="0">
                <a:ea typeface="Verdana" panose="020B0604030504040204" pitchFamily="34" charset="0"/>
              </a:rPr>
              <a:t>Марина Басова</a:t>
            </a:r>
            <a:r>
              <a:rPr lang="ru-RU" sz="1600" b="1" dirty="0">
                <a:ea typeface="Verdana" panose="020B0604030504040204" pitchFamily="34" charset="0"/>
              </a:rPr>
              <a:t> </a:t>
            </a:r>
            <a:r>
              <a:rPr lang="en-US" dirty="0">
                <a:ea typeface="Verdana" panose="020B0604030504040204" pitchFamily="34" charset="0"/>
              </a:rPr>
              <a:t/>
            </a:r>
            <a:br>
              <a:rPr lang="en-US" dirty="0">
                <a:ea typeface="Verdana" panose="020B0604030504040204" pitchFamily="34" charset="0"/>
              </a:rPr>
            </a:br>
            <a:r>
              <a:rPr lang="ru-RU" dirty="0">
                <a:ea typeface="Verdana" panose="020B0604030504040204" pitchFamily="34" charset="0"/>
              </a:rPr>
              <a:t>Руководитель практики</a:t>
            </a:r>
            <a:br>
              <a:rPr lang="ru-RU" dirty="0">
                <a:ea typeface="Verdana" panose="020B0604030504040204" pitchFamily="34" charset="0"/>
              </a:rPr>
            </a:br>
            <a:r>
              <a:rPr lang="ru-RU" dirty="0" err="1">
                <a:ea typeface="Verdana" panose="020B0604030504040204" pitchFamily="34" charset="0"/>
              </a:rPr>
              <a:t>Претензионно</a:t>
            </a:r>
            <a:r>
              <a:rPr lang="ru-RU" dirty="0">
                <a:ea typeface="Verdana" panose="020B0604030504040204" pitchFamily="34" charset="0"/>
              </a:rPr>
              <a:t>-судебная работа</a:t>
            </a:r>
            <a:r>
              <a:rPr lang="en-US" dirty="0">
                <a:ea typeface="Verdana" panose="020B0604030504040204" pitchFamily="34" charset="0"/>
              </a:rPr>
              <a:t> </a:t>
            </a:r>
            <a:endParaRPr lang="ru-RU" dirty="0">
              <a:ea typeface="Verdana" panose="020B0604030504040204" pitchFamily="34" charset="0"/>
            </a:endParaRPr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>
                <a:ea typeface="Verdana" panose="020B0604030504040204" pitchFamily="34" charset="0"/>
              </a:rPr>
              <a:t>ООО </a:t>
            </a:r>
            <a:r>
              <a:rPr lang="ru-RU" dirty="0" err="1" smtClean="0">
                <a:ea typeface="Verdana" panose="020B0604030504040204" pitchFamily="34" charset="0"/>
              </a:rPr>
              <a:t>СИБУР</a:t>
            </a:r>
            <a:endParaRPr lang="ru-RU" dirty="0"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5278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372183" y="358073"/>
            <a:ext cx="9468730" cy="763588"/>
          </a:xfrm>
        </p:spPr>
        <p:txBody>
          <a:bodyPr/>
          <a:lstStyle/>
          <a:p>
            <a:r>
              <a:rPr lang="ru-RU" sz="3200" dirty="0" smtClean="0"/>
              <a:t>НЕИСПОЛНЕНИЕ/НАРУШЕНИЕ ЗАКЛЮЧЕННЫХ  ДОГОВОРОВ</a:t>
            </a:r>
          </a:p>
          <a:p>
            <a:endParaRPr lang="ru-RU" sz="320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294967295"/>
          </p:nvPr>
        </p:nvSpPr>
        <p:spPr>
          <a:xfrm>
            <a:off x="11349038" y="6408738"/>
            <a:ext cx="842962" cy="365125"/>
          </a:xfrm>
        </p:spPr>
        <p:txBody>
          <a:bodyPr/>
          <a:lstStyle/>
          <a:p>
            <a:fld id="{FBCA3FA6-0CD9-4F8A-8D07-6A53E20F3AF4}" type="slidenum">
              <a:rPr lang="ru-RU" smtClean="0"/>
              <a:t>10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479425" y="1873504"/>
            <a:ext cx="3420000" cy="3888000"/>
          </a:xfrm>
          <a:prstGeom prst="roundRect">
            <a:avLst/>
          </a:prstGeom>
          <a:ln w="19050">
            <a:gradFill flip="none" rotWithShape="1">
              <a:gsLst>
                <a:gs pos="11000">
                  <a:schemeClr val="tx2"/>
                </a:gs>
                <a:gs pos="99128">
                  <a:schemeClr val="accent3"/>
                </a:gs>
                <a:gs pos="46768">
                  <a:schemeClr val="accent2"/>
                </a:gs>
                <a:gs pos="79000">
                  <a:schemeClr val="accent1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0000" rtlCol="0" anchor="t"/>
          <a:lstStyle>
            <a:defPPr>
              <a:defRPr lang="ru-RU"/>
            </a:defPPr>
            <a:lvl1pPr lvl="0">
              <a:lnSpc>
                <a:spcPct val="70000"/>
              </a:lnSpc>
              <a:defRPr sz="2800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ru-RU" sz="1600" dirty="0"/>
              <a:t>Обращение в арбитраж </a:t>
            </a:r>
          </a:p>
          <a:p>
            <a:r>
              <a:rPr lang="ru-RU" sz="1600" dirty="0"/>
              <a:t>согласно </a:t>
            </a:r>
            <a:r>
              <a:rPr lang="ru-RU" sz="1600" dirty="0"/>
              <a:t>оговорке</a:t>
            </a:r>
          </a:p>
          <a:p>
            <a:endParaRPr lang="ru-RU" sz="1600" dirty="0"/>
          </a:p>
          <a:p>
            <a:r>
              <a:rPr lang="ru-RU" sz="1600" dirty="0"/>
              <a:t>Решение по существу; </a:t>
            </a:r>
          </a:p>
          <a:p>
            <a:r>
              <a:rPr lang="ru-RU" sz="1600" dirty="0"/>
              <a:t>Возможность исполнения по Нью-йоркской конвенции в 170 странах (?)</a:t>
            </a:r>
          </a:p>
          <a:p>
            <a:endParaRPr lang="ru-RU" sz="1600" dirty="0"/>
          </a:p>
          <a:p>
            <a:r>
              <a:rPr lang="ru-RU" sz="1600" dirty="0"/>
              <a:t>Риски</a:t>
            </a:r>
          </a:p>
          <a:p>
            <a:r>
              <a:rPr lang="ru-RU" sz="1600" dirty="0"/>
              <a:t>Санкции и их влияние на спор (риск </a:t>
            </a:r>
            <a:r>
              <a:rPr lang="ru-RU" sz="1600" dirty="0"/>
              <a:t>проигрыша по </a:t>
            </a:r>
            <a:r>
              <a:rPr lang="ru-RU" sz="1600" dirty="0"/>
              <a:t>существу</a:t>
            </a:r>
            <a:r>
              <a:rPr lang="en-US" sz="1600" dirty="0"/>
              <a:t> </a:t>
            </a:r>
            <a:r>
              <a:rPr lang="ru-RU" sz="1600" dirty="0"/>
              <a:t>сложности/недоступность оплаты </a:t>
            </a:r>
            <a:r>
              <a:rPr lang="ru-RU" sz="1600" dirty="0"/>
              <a:t>сборов, </a:t>
            </a:r>
            <a:r>
              <a:rPr lang="ru-RU" sz="1600" dirty="0"/>
              <a:t>привлечения </a:t>
            </a:r>
            <a:r>
              <a:rPr lang="ru-RU" sz="1600" dirty="0"/>
              <a:t>арбитров, юристов и экспертов</a:t>
            </a:r>
            <a:r>
              <a:rPr lang="ru-RU" sz="1600" dirty="0"/>
              <a:t>); </a:t>
            </a:r>
            <a:endParaRPr lang="ru-RU" sz="1600" dirty="0"/>
          </a:p>
          <a:p>
            <a:r>
              <a:rPr lang="ru-RU" sz="1600" dirty="0"/>
              <a:t>Высокая стоимость; </a:t>
            </a:r>
          </a:p>
          <a:p>
            <a:r>
              <a:rPr lang="ru-RU" sz="1600" dirty="0"/>
              <a:t>Возможные проблемы с </a:t>
            </a:r>
            <a:r>
              <a:rPr lang="ru-RU" sz="1600" dirty="0"/>
              <a:t>исполнением</a:t>
            </a:r>
            <a:r>
              <a:rPr lang="ru-RU" sz="1600" dirty="0" smtClean="0"/>
              <a:t>.</a:t>
            </a:r>
            <a:endParaRPr lang="ru-RU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4386000" y="1873505"/>
            <a:ext cx="3420000" cy="3888000"/>
          </a:xfrm>
          <a:prstGeom prst="roundRect">
            <a:avLst/>
          </a:prstGeom>
          <a:ln w="19050">
            <a:gradFill flip="none" rotWithShape="1">
              <a:gsLst>
                <a:gs pos="11000">
                  <a:schemeClr val="tx2"/>
                </a:gs>
                <a:gs pos="99128">
                  <a:schemeClr val="accent3"/>
                </a:gs>
                <a:gs pos="46768">
                  <a:schemeClr val="accent2"/>
                </a:gs>
                <a:gs pos="79000">
                  <a:schemeClr val="accent1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0000" rtlCol="0" anchor="t"/>
          <a:lstStyle>
            <a:defPPr>
              <a:defRPr lang="ru-RU"/>
            </a:defPPr>
            <a:lvl1pPr lvl="0">
              <a:lnSpc>
                <a:spcPct val="70000"/>
              </a:lnSpc>
              <a:defRPr sz="2800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ru-RU" sz="1600" dirty="0"/>
              <a:t>Предъявление </a:t>
            </a:r>
            <a:r>
              <a:rPr lang="ru-RU" sz="1600" dirty="0"/>
              <a:t>иска в </a:t>
            </a:r>
            <a:r>
              <a:rPr lang="ru-RU" sz="1600" dirty="0"/>
              <a:t>суд РФ (ст.248.1/248.2 АПК РФ</a:t>
            </a:r>
            <a:r>
              <a:rPr lang="ru-RU" sz="1600" dirty="0"/>
              <a:t>)</a:t>
            </a:r>
          </a:p>
          <a:p>
            <a:r>
              <a:rPr lang="ru-RU" sz="1600" dirty="0"/>
              <a:t> </a:t>
            </a:r>
          </a:p>
          <a:p>
            <a:r>
              <a:rPr lang="ru-RU" sz="1600" dirty="0"/>
              <a:t>Обеспечительные меры и исполнение в РФ и иных дружественных юрисдикциях (?);  </a:t>
            </a:r>
          </a:p>
          <a:p>
            <a:r>
              <a:rPr lang="ru-RU" sz="1600" dirty="0"/>
              <a:t>Инициирование в РФ процедуры банкротства; </a:t>
            </a:r>
          </a:p>
          <a:p>
            <a:r>
              <a:rPr lang="ru-RU" sz="1600" dirty="0"/>
              <a:t>Привлечение соответчиком, </a:t>
            </a:r>
            <a:r>
              <a:rPr lang="ru-RU" sz="1600" dirty="0" err="1"/>
              <a:t>об.меры</a:t>
            </a:r>
            <a:r>
              <a:rPr lang="ru-RU" sz="1600" dirty="0"/>
              <a:t>/арест, исполнение решения за счет активов российского </a:t>
            </a:r>
            <a:r>
              <a:rPr lang="ru-RU" sz="1600" dirty="0" err="1"/>
              <a:t>аффилиата</a:t>
            </a:r>
            <a:r>
              <a:rPr lang="ru-RU" sz="1600" dirty="0"/>
              <a:t>.</a:t>
            </a:r>
            <a:endParaRPr lang="ru-RU" sz="1600" dirty="0"/>
          </a:p>
          <a:p>
            <a:endParaRPr lang="ru-RU" sz="1600" dirty="0"/>
          </a:p>
          <a:p>
            <a:endParaRPr lang="ru-RU" sz="1600" dirty="0"/>
          </a:p>
          <a:p>
            <a:endParaRPr lang="ru-RU" sz="1600" dirty="0"/>
          </a:p>
          <a:p>
            <a:endParaRPr lang="ru-RU" sz="1600" dirty="0"/>
          </a:p>
          <a:p>
            <a:endParaRPr lang="ru-RU" sz="1600" dirty="0"/>
          </a:p>
          <a:p>
            <a:endParaRPr lang="ru-RU" sz="1600" dirty="0"/>
          </a:p>
          <a:p>
            <a:endParaRPr lang="ru-RU" sz="1600" dirty="0"/>
          </a:p>
          <a:p>
            <a:endParaRPr lang="ru-RU" sz="1600" dirty="0"/>
          </a:p>
        </p:txBody>
      </p:sp>
      <p:sp>
        <p:nvSpPr>
          <p:cNvPr id="14" name="TextBox 13"/>
          <p:cNvSpPr txBox="1"/>
          <p:nvPr/>
        </p:nvSpPr>
        <p:spPr>
          <a:xfrm>
            <a:off x="8292575" y="1873505"/>
            <a:ext cx="3420000" cy="3888000"/>
          </a:xfrm>
          <a:prstGeom prst="roundRect">
            <a:avLst/>
          </a:prstGeom>
          <a:ln w="19050">
            <a:gradFill flip="none" rotWithShape="1">
              <a:gsLst>
                <a:gs pos="11000">
                  <a:schemeClr val="tx2"/>
                </a:gs>
                <a:gs pos="99128">
                  <a:schemeClr val="accent3"/>
                </a:gs>
                <a:gs pos="46768">
                  <a:schemeClr val="accent2"/>
                </a:gs>
                <a:gs pos="79000">
                  <a:schemeClr val="accent1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0000" rtlCol="0" anchor="t"/>
          <a:lstStyle>
            <a:defPPr>
              <a:defRPr lang="ru-RU"/>
            </a:defPPr>
            <a:lvl1pPr lvl="0">
              <a:lnSpc>
                <a:spcPct val="70000"/>
              </a:lnSpc>
              <a:defRPr sz="2800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ru-RU" sz="1600" dirty="0"/>
              <a:t>Досудебное </a:t>
            </a:r>
            <a:r>
              <a:rPr lang="ru-RU" sz="1600" dirty="0"/>
              <a:t>урегулирование </a:t>
            </a:r>
            <a:endParaRPr lang="ru-RU" sz="1600" dirty="0"/>
          </a:p>
          <a:p>
            <a:r>
              <a:rPr lang="ru-RU" sz="1600" dirty="0"/>
              <a:t> </a:t>
            </a:r>
          </a:p>
          <a:p>
            <a:r>
              <a:rPr lang="ru-RU" sz="1600" dirty="0"/>
              <a:t>Сохранение партнерских отношений</a:t>
            </a:r>
          </a:p>
          <a:p>
            <a:endParaRPr lang="ru-RU" sz="1600" dirty="0"/>
          </a:p>
          <a:p>
            <a:r>
              <a:rPr lang="ru-RU" sz="1600" dirty="0"/>
              <a:t>Риски</a:t>
            </a:r>
            <a:r>
              <a:rPr lang="en-US" sz="1600" dirty="0"/>
              <a:t> </a:t>
            </a:r>
            <a:endParaRPr lang="ru-RU" sz="1600" dirty="0"/>
          </a:p>
          <a:p>
            <a:r>
              <a:rPr lang="ru-RU" sz="1600" dirty="0"/>
              <a:t>Не все партнеры </a:t>
            </a:r>
            <a:r>
              <a:rPr lang="ru-RU" sz="1600" dirty="0" err="1"/>
              <a:t>договороспособны</a:t>
            </a:r>
            <a:r>
              <a:rPr lang="ru-RU" sz="1600" dirty="0"/>
              <a:t>; </a:t>
            </a:r>
          </a:p>
          <a:p>
            <a:r>
              <a:rPr lang="ru-RU" sz="1600" dirty="0"/>
              <a:t>Обход санкций (?) ; </a:t>
            </a:r>
          </a:p>
          <a:p>
            <a:r>
              <a:rPr lang="ru-RU" sz="1600" dirty="0"/>
              <a:t>Дисконты/рассрочка погашения</a:t>
            </a:r>
            <a:r>
              <a:rPr lang="ru-RU" sz="1600" dirty="0"/>
              <a:t>.</a:t>
            </a:r>
          </a:p>
          <a:p>
            <a:endParaRPr lang="ru-RU" sz="1600" dirty="0"/>
          </a:p>
          <a:p>
            <a:endParaRPr lang="ru-RU" sz="1600" dirty="0"/>
          </a:p>
          <a:p>
            <a:endParaRPr lang="ru-RU" sz="1600" dirty="0"/>
          </a:p>
          <a:p>
            <a:endParaRPr lang="ru-RU" sz="1600" dirty="0"/>
          </a:p>
          <a:p>
            <a:endParaRPr lang="ru-RU" sz="1600" dirty="0"/>
          </a:p>
          <a:p>
            <a:endParaRPr lang="ru-RU" sz="1600" dirty="0"/>
          </a:p>
          <a:p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941167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38622"/>
            <a:fld id="{31ED88B6-9D2D-479B-ABA6-BAE9EF28FCC0}" type="slidenum">
              <a:rPr lang="ru-RU">
                <a:solidFill>
                  <a:srgbClr val="00313C"/>
                </a:solidFill>
                <a:latin typeface="Century Gothic" panose="020B0502020202020204" pitchFamily="34" charset="0"/>
              </a:rPr>
              <a:pPr defTabSz="1038622"/>
              <a:t>11</a:t>
            </a:fld>
            <a:endParaRPr lang="ru-RU" dirty="0">
              <a:solidFill>
                <a:srgbClr val="00313C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4155872"/>
              </p:ext>
            </p:extLst>
          </p:nvPr>
        </p:nvGraphicFramePr>
        <p:xfrm>
          <a:off x="0" y="2"/>
          <a:ext cx="12191999" cy="685799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515317">
                  <a:extLst>
                    <a:ext uri="{9D8B030D-6E8A-4147-A177-3AD203B41FA5}">
                      <a16:colId xmlns:a16="http://schemas.microsoft.com/office/drawing/2014/main" val="1668712395"/>
                    </a:ext>
                  </a:extLst>
                </a:gridCol>
                <a:gridCol w="3082538">
                  <a:extLst>
                    <a:ext uri="{9D8B030D-6E8A-4147-A177-3AD203B41FA5}">
                      <a16:colId xmlns:a16="http://schemas.microsoft.com/office/drawing/2014/main" val="2780702862"/>
                    </a:ext>
                  </a:extLst>
                </a:gridCol>
                <a:gridCol w="2958332">
                  <a:extLst>
                    <a:ext uri="{9D8B030D-6E8A-4147-A177-3AD203B41FA5}">
                      <a16:colId xmlns:a16="http://schemas.microsoft.com/office/drawing/2014/main" val="600507781"/>
                    </a:ext>
                  </a:extLst>
                </a:gridCol>
                <a:gridCol w="3635812">
                  <a:extLst>
                    <a:ext uri="{9D8B030D-6E8A-4147-A177-3AD203B41FA5}">
                      <a16:colId xmlns:a16="http://schemas.microsoft.com/office/drawing/2014/main" val="1051731326"/>
                    </a:ext>
                  </a:extLst>
                </a:gridCol>
              </a:tblGrid>
              <a:tr h="764284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err="1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Expert</a:t>
                      </a:r>
                      <a:r>
                        <a:rPr lang="ru-RU" sz="1200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  <a:r>
                        <a:rPr lang="ru-RU" sz="1200" dirty="0" err="1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Determination</a:t>
                      </a:r>
                      <a:r>
                        <a:rPr lang="ru-RU" sz="1200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1200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(Обращение к эксперту)</a:t>
                      </a:r>
                      <a:endParaRPr lang="ru-RU" sz="1200" b="1" kern="1200" baseline="0" dirty="0">
                        <a:solidFill>
                          <a:schemeClr val="l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solidFill>
                      <a:srgbClr val="008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 smtClean="0">
                          <a:solidFill>
                            <a:schemeClr val="lt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DRB </a:t>
                      </a:r>
                    </a:p>
                    <a:p>
                      <a:pPr algn="ctr"/>
                      <a:r>
                        <a:rPr lang="en-US" sz="1200" b="1" kern="1200" dirty="0" smtClean="0">
                          <a:solidFill>
                            <a:schemeClr val="lt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(Dispute Review Board)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solidFill>
                      <a:srgbClr val="008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DAB </a:t>
                      </a:r>
                    </a:p>
                    <a:p>
                      <a:pPr algn="ctr"/>
                      <a:r>
                        <a:rPr lang="en-US" sz="1200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(Dispute Adjudication Board)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solidFill>
                      <a:srgbClr val="008B9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021" rtl="0" eaLnBrk="1" latinLnBrk="0" hangingPunct="1"/>
                      <a:r>
                        <a:rPr lang="en-US" sz="1200" kern="1200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DAAB </a:t>
                      </a:r>
                    </a:p>
                    <a:p>
                      <a:pPr marL="0" algn="ctr" defTabSz="779021" rtl="0" eaLnBrk="1" latinLnBrk="0" hangingPunct="1"/>
                      <a:r>
                        <a:rPr lang="en-US" sz="1200" kern="1200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(</a:t>
                      </a:r>
                      <a:r>
                        <a:rPr lang="en-US" sz="1200" kern="12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Di</a:t>
                      </a:r>
                      <a:r>
                        <a:rPr lang="en-US" sz="1200" kern="1200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spute Avoidance and Adjudication Board)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solidFill>
                      <a:srgbClr val="008B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503188"/>
                  </a:ext>
                </a:extLst>
              </a:tr>
              <a:tr h="2336450">
                <a:tc>
                  <a:txBody>
                    <a:bodyPr/>
                    <a:lstStyle/>
                    <a:p>
                      <a:pPr algn="just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назначается для определения того, как должны быть разрешены спорные вопросы, а не для решения вопроса о правоте сторон. </a:t>
                      </a:r>
                    </a:p>
                    <a:p>
                      <a:pPr algn="just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Стороны могут договориться о решении конкретных вопросов, имеющий отношение к их контракту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именно экспертов в этой области</a:t>
                      </a:r>
                      <a:endParaRPr lang="ru-RU" sz="1000" dirty="0" smtClean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Комиссия, которая разрешает споры путем выдачи рекомендаций. </a:t>
                      </a:r>
                    </a:p>
                    <a:p>
                      <a:pPr algn="just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Обладает только теми полномочиями, </a:t>
                      </a:r>
                    </a:p>
                    <a:p>
                      <a:pPr algn="just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которые прямо предоставлены ей соглашением. </a:t>
                      </a:r>
                    </a:p>
                    <a:p>
                      <a:pPr algn="just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Обычно действует на всем протяжении действия контракта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Комиссия, которая разрешает споры путем вынесения решений. Предусмотрена стандартной формой FIDIC 1999 (Красная книга). В зависимости от момента формирования выделяются постоянно действующая (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tanding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DABформируется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сторонами договора при его заключении) и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единоразовая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ad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hoc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DAB - после возникновения спорной ситуации в ходе исполнения договора) Обращение в DAB является предварительным условием арбитражного разбирательства.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algn="just" defTabSz="779021" rtl="0" eaLnBrk="1" latinLnBrk="0" hangingPunct="1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DAAB призван контролировать и решать, соблюдает ли подрядчик свои контрактные обязательства. Последователь DAB, который был предусмотрен FIDIC 1999. Передача спора в DAAB является обязательным условием для арбитража (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ub-Clause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21.6. FIDIC 2017)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432297735"/>
                  </a:ext>
                </a:extLst>
              </a:tr>
              <a:tr h="3757264">
                <a:tc>
                  <a:txBody>
                    <a:bodyPr/>
                    <a:lstStyle/>
                    <a:p>
                      <a:pPr algn="just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Заключение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эксперта я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вляется окончательным и обязательным, если только уведомление о недовольстве (NOD) не будет подано в течение 21 дня с момента вынесения решения. Как правило, заключение эксперта является окончательным и обязательным к исполнению при отсутствии мошенничества или ошибки (в зависимости от согласованных сторонами договорных условий). Возможно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предусмотреть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пересмотр экспертного заключения посредством обращения в  арбитраж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Не становится обязательным немедленно, только по истечению 30 дней на обжалование сторон (п. 20.4 Красной книги).</a:t>
                      </a:r>
                    </a:p>
                    <a:p>
                      <a:pPr algn="just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В случае, если уведомление о несогласии не будет подано в течение указанного срока, решение является окончательным и обязательным. </a:t>
                      </a:r>
                    </a:p>
                    <a:p>
                      <a:pPr algn="just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Если уведомление о недовольстве (NOD) подано в соответствии с договором/регламентом, то следующим этапом является передача спора в арбитраж для разрешения спора, при этом рассмотрение спора ведется с самого начала (рекомендация DRB может служить доказательством в процессе)</a:t>
                      </a:r>
                      <a:endParaRPr lang="ru-RU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Решение вступает в силу немедленно и должно быть исполнено (п. 20.4 Красной книги)). В случае уклонения одной из сторон от исполнения, спор подлежит рассмотрению в арбитраже, при этом рассмотрение спора ведется с самого начала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algn="just" defTabSz="779021" rtl="0" eaLnBrk="1" latinLnBrk="0" hangingPunct="1"/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Требования к решению (подпункт 21.4 FIDIC 2017), должно быть: </a:t>
                      </a:r>
                    </a:p>
                    <a:p>
                      <a:pPr marL="171450" indent="-171450" algn="just" defTabSz="779021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обосновано; </a:t>
                      </a:r>
                    </a:p>
                    <a:p>
                      <a:pPr marL="171450" indent="-171450" algn="just" defTabSz="779021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принято в письменном форме и передано сторонам; </a:t>
                      </a:r>
                    </a:p>
                    <a:p>
                      <a:pPr marL="171450" indent="-171450" algn="just" defTabSz="779021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указывать, что оно принято в соответствии с конкретным подпунктом FIDIC.</a:t>
                      </a:r>
                    </a:p>
                    <a:p>
                      <a:pPr marL="0" indent="0" algn="just" defTabSz="779021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Является обязательным для обеих сторон, и стороны должны незамедлительно его выполнить. Пп.21.4 FIDIC 2017  - уведомление о недовольстве (NOD) должно быть подано в течение срока, указанного в договоре, либо, если срок не указан, в течение 28 дней с момента получения решения. В противном случае решение становится окончательным и обязательным для сторон. После выдачи уведомления о недовольстве существует период мирового соглашения (по умолчанию 21 день), прежде чем можно будет начать арбитраж. В случае уклонения от исполнения, спор подлежит рассмотрению в арбитраже, рассмотрение спора ведется с самого начала (</a:t>
                      </a:r>
                      <a:r>
                        <a:rPr lang="ru-RU" sz="1000" baseline="0" dirty="0" err="1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пп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21.4 FIDIC 2017)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1775616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68955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Скругленный прямоугольник 23"/>
          <p:cNvSpPr/>
          <p:nvPr/>
        </p:nvSpPr>
        <p:spPr bwMode="auto">
          <a:xfrm>
            <a:off x="384820" y="3572360"/>
            <a:ext cx="4189336" cy="2775453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6000" tIns="48000" rIns="96000" bIns="4800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1600" b="1" dirty="0">
              <a:solidFill>
                <a:srgbClr val="00313C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Овал 15"/>
          <p:cNvSpPr/>
          <p:nvPr/>
        </p:nvSpPr>
        <p:spPr bwMode="auto">
          <a:xfrm>
            <a:off x="4574156" y="1090398"/>
            <a:ext cx="3240000" cy="3240000"/>
          </a:xfrm>
          <a:prstGeom prst="ellipse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tIns="72000" bIns="72000" rtlCol="0" anchor="ctr"/>
          <a:lstStyle/>
          <a:p>
            <a:pPr algn="ctr"/>
            <a:endParaRPr lang="ru-RU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 bwMode="auto">
          <a:xfrm>
            <a:off x="5227835" y="3195923"/>
            <a:ext cx="1986542" cy="677191"/>
          </a:xfrm>
          <a:prstGeom prst="roundRect">
            <a:avLst/>
          </a:prstGeom>
          <a:gradFill>
            <a:gsLst>
              <a:gs pos="0">
                <a:schemeClr val="tx2">
                  <a:alpha val="65000"/>
                </a:schemeClr>
              </a:gs>
              <a:gs pos="45000">
                <a:schemeClr val="accent2">
                  <a:alpha val="45000"/>
                </a:schemeClr>
              </a:gs>
              <a:gs pos="100000">
                <a:schemeClr val="accent1">
                  <a:alpha val="44000"/>
                </a:schemeClr>
              </a:gs>
            </a:gsLst>
            <a:lin ang="16200000" scaled="0"/>
          </a:gradFill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400" dirty="0">
                <a:solidFill>
                  <a:srgbClr val="FFFFFF"/>
                </a:solidFill>
                <a:latin typeface="Century Gothic" panose="020B0502020202020204" pitchFamily="34" charset="0"/>
              </a:rPr>
              <a:t>Российское лицо – Соответчик </a:t>
            </a:r>
          </a:p>
        </p:txBody>
      </p:sp>
      <p:sp>
        <p:nvSpPr>
          <p:cNvPr id="10" name="Скругленный прямоугольник 9"/>
          <p:cNvSpPr/>
          <p:nvPr/>
        </p:nvSpPr>
        <p:spPr bwMode="auto">
          <a:xfrm>
            <a:off x="5229192" y="1497596"/>
            <a:ext cx="1986542" cy="698823"/>
          </a:xfrm>
          <a:prstGeom prst="roundRect">
            <a:avLst/>
          </a:prstGeom>
          <a:gradFill>
            <a:gsLst>
              <a:gs pos="0">
                <a:schemeClr val="tx2">
                  <a:alpha val="65000"/>
                </a:schemeClr>
              </a:gs>
              <a:gs pos="45000">
                <a:schemeClr val="accent2">
                  <a:alpha val="45000"/>
                </a:schemeClr>
              </a:gs>
              <a:gs pos="100000">
                <a:schemeClr val="accent1">
                  <a:alpha val="44000"/>
                </a:schemeClr>
              </a:gs>
            </a:gsLst>
            <a:lin ang="16200000" scaled="0"/>
          </a:gradFill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400" dirty="0">
                <a:solidFill>
                  <a:srgbClr val="FFFFFF"/>
                </a:solidFill>
                <a:latin typeface="Century Gothic" panose="020B0502020202020204" pitchFamily="34" charset="0"/>
              </a:rPr>
              <a:t>Иностранное лицо – Ответчик</a:t>
            </a:r>
          </a:p>
        </p:txBody>
      </p:sp>
      <p:sp>
        <p:nvSpPr>
          <p:cNvPr id="9" name="Скругленный прямоугольник 8"/>
          <p:cNvSpPr/>
          <p:nvPr/>
        </p:nvSpPr>
        <p:spPr bwMode="auto">
          <a:xfrm>
            <a:off x="478366" y="2346759"/>
            <a:ext cx="2085252" cy="748336"/>
          </a:xfrm>
          <a:prstGeom prst="roundRect">
            <a:avLst/>
          </a:prstGeom>
          <a:gradFill>
            <a:gsLst>
              <a:gs pos="0">
                <a:schemeClr val="tx2">
                  <a:alpha val="65000"/>
                </a:schemeClr>
              </a:gs>
              <a:gs pos="45000">
                <a:schemeClr val="accent2">
                  <a:alpha val="45000"/>
                </a:schemeClr>
              </a:gs>
              <a:gs pos="100000">
                <a:schemeClr val="accent1">
                  <a:alpha val="44000"/>
                </a:schemeClr>
              </a:gs>
            </a:gsLst>
            <a:lin ang="16200000" scaled="0"/>
          </a:gradFill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tIns="72000" bIns="72000" rtlCol="0" anchor="ctr"/>
          <a:lstStyle/>
          <a:p>
            <a:pPr algn="ctr"/>
            <a:endParaRPr lang="ru-RU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418418" y="404813"/>
            <a:ext cx="11236325" cy="277813"/>
          </a:xfrm>
        </p:spPr>
        <p:txBody>
          <a:bodyPr>
            <a:spAutoFit/>
          </a:bodyPr>
          <a:lstStyle/>
          <a:p>
            <a:r>
              <a:rPr lang="ru-RU" sz="18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ПРИВЛЕЧЕНИЕ </a:t>
            </a:r>
            <a:r>
              <a:rPr lang="ru-RU" sz="1800" dirty="0" err="1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АФФИЛИАТОВ</a:t>
            </a:r>
            <a:r>
              <a:rPr lang="ru-RU" sz="18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В РФ В КАЧЕСТВЕ СООТВЕТЧИКА ПО </a:t>
            </a:r>
            <a:r>
              <a:rPr lang="ru-RU" sz="1800" dirty="0" err="1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Т.248.1</a:t>
            </a:r>
            <a:r>
              <a:rPr lang="ru-RU" sz="18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АПК РФ</a:t>
            </a:r>
            <a:endParaRPr lang="ru-RU" sz="18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30879" y="2464176"/>
            <a:ext cx="162279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38622"/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Российская компания </a:t>
            </a:r>
            <a:endParaRPr lang="ru-RU" sz="16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  <p:cxnSp>
        <p:nvCxnSpPr>
          <p:cNvPr id="12" name="Прямая со стрелкой 11"/>
          <p:cNvCxnSpPr>
            <a:stCxn id="9" idx="3"/>
            <a:endCxn id="17" idx="1"/>
          </p:cNvCxnSpPr>
          <p:nvPr/>
        </p:nvCxnSpPr>
        <p:spPr bwMode="auto">
          <a:xfrm>
            <a:off x="2563618" y="2720927"/>
            <a:ext cx="1942227" cy="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Box 13"/>
          <p:cNvSpPr txBox="1"/>
          <p:nvPr/>
        </p:nvSpPr>
        <p:spPr>
          <a:xfrm>
            <a:off x="3069742" y="2428540"/>
            <a:ext cx="93100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38622"/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Договор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505845" y="2428540"/>
            <a:ext cx="3373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38622"/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ЕДИНАЯ КОРПОРАТИВНАЯ СТРУКТУРА</a:t>
            </a:r>
            <a:endParaRPr lang="ru-RU" sz="16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231644" y="1497596"/>
            <a:ext cx="3771848" cy="39395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38622"/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Доказываем через:</a:t>
            </a:r>
            <a:endParaRPr lang="ru-RU" sz="16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defTabSz="1038622"/>
            <a:endParaRPr lang="ru-RU" sz="16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380990" indent="-380990" defTabSz="1038622">
              <a:buFont typeface="Wingdings" panose="05000000000000000000" pitchFamily="2" charset="2"/>
              <a:buChar char="v"/>
            </a:pPr>
            <a:r>
              <a:rPr lang="ru-RU" sz="1600" i="1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ведения из открытых источников (официальные сайты предприятий, статьи в СМИ);</a:t>
            </a:r>
          </a:p>
          <a:p>
            <a:pPr marL="380990" indent="-380990" defTabSz="1038622">
              <a:buFont typeface="Wingdings" panose="05000000000000000000" pitchFamily="2" charset="2"/>
              <a:buChar char="v"/>
            </a:pPr>
            <a:endParaRPr lang="ru-RU" sz="1600" i="1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380990" indent="-380990" defTabSz="1038622">
              <a:buFont typeface="Wingdings" panose="05000000000000000000" pitchFamily="2" charset="2"/>
              <a:buChar char="v"/>
            </a:pPr>
            <a:r>
              <a:rPr lang="ru-RU" sz="1600" i="1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Данные отчетности;</a:t>
            </a:r>
          </a:p>
          <a:p>
            <a:pPr marL="380990" indent="-380990" defTabSz="1038622">
              <a:buFont typeface="Wingdings" panose="05000000000000000000" pitchFamily="2" charset="2"/>
              <a:buChar char="v"/>
            </a:pPr>
            <a:endParaRPr lang="ru-RU" sz="1600" i="1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380990" indent="-380990" defTabSz="1038622">
              <a:buFont typeface="Wingdings" panose="05000000000000000000" pitchFamily="2" charset="2"/>
              <a:buChar char="v"/>
            </a:pPr>
            <a:r>
              <a:rPr lang="ru-RU" sz="1600" i="1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ведения из российских и иностранных регистраторов;</a:t>
            </a:r>
          </a:p>
          <a:p>
            <a:pPr marL="380990" indent="-380990" defTabSz="1038622">
              <a:buFont typeface="Wingdings" panose="05000000000000000000" pitchFamily="2" charset="2"/>
              <a:buChar char="v"/>
            </a:pPr>
            <a:endParaRPr lang="ru-RU" sz="1600" i="1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380990" indent="-380990" defTabSz="1038622">
              <a:buFont typeface="Wingdings" panose="05000000000000000000" pitchFamily="2" charset="2"/>
              <a:buChar char="v"/>
            </a:pPr>
            <a:r>
              <a:rPr lang="ru-RU" sz="1600" i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удебную </a:t>
            </a:r>
            <a:r>
              <a:rPr lang="ru-RU" sz="1600" i="1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практику, где соответчик </a:t>
            </a:r>
            <a:r>
              <a:rPr lang="ru-RU" sz="1600" i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ранее выступал как официальное представительство</a:t>
            </a:r>
            <a:endParaRPr lang="ru-RU" sz="1600" i="1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19793" y="3740300"/>
            <a:ext cx="3794265" cy="22467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038622"/>
            <a:r>
              <a:rPr lang="ru-RU" sz="1600" b="1" dirty="0" smtClean="0">
                <a:solidFill>
                  <a:srgbClr val="00313C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Презумпция </a:t>
            </a:r>
            <a:r>
              <a:rPr lang="ru-RU" sz="1600" b="1" u="sng" dirty="0" smtClean="0">
                <a:solidFill>
                  <a:srgbClr val="00313C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единства </a:t>
            </a:r>
            <a:r>
              <a:rPr lang="ru-RU" sz="1600" b="1" dirty="0" smtClean="0">
                <a:solidFill>
                  <a:srgbClr val="00313C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корпоративной структуры:</a:t>
            </a:r>
            <a:endParaRPr lang="ru-RU" sz="1600" b="1" dirty="0">
              <a:solidFill>
                <a:srgbClr val="00313C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algn="ctr" defTabSz="1038622"/>
            <a:endParaRPr lang="ru-RU" sz="1600" dirty="0">
              <a:solidFill>
                <a:srgbClr val="00313C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228594" indent="-228594" defTabSz="1038622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313C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Общий </a:t>
            </a:r>
            <a:r>
              <a:rPr lang="ru-RU" sz="1400" dirty="0">
                <a:solidFill>
                  <a:srgbClr val="00313C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центр принятия </a:t>
            </a:r>
            <a:r>
              <a:rPr lang="ru-RU" sz="1400" dirty="0" smtClean="0">
                <a:solidFill>
                  <a:srgbClr val="00313C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решения и бренд;</a:t>
            </a:r>
            <a:endParaRPr lang="ru-RU" sz="1400" dirty="0">
              <a:solidFill>
                <a:srgbClr val="00313C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228594" indent="-228594" defTabSz="1038622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313C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Регламентация деятельности общими документами;</a:t>
            </a:r>
          </a:p>
          <a:p>
            <a:pPr marL="228594" indent="-228594" defTabSz="1038622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313C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овместное управление активами;</a:t>
            </a:r>
          </a:p>
          <a:p>
            <a:pPr marL="228594" indent="-228594" defTabSz="1038622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313C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Реализация контролирующих </a:t>
            </a:r>
            <a:r>
              <a:rPr lang="ru-RU" sz="1400" dirty="0" smtClean="0">
                <a:solidFill>
                  <a:srgbClr val="00313C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указаний</a:t>
            </a:r>
            <a:r>
              <a:rPr lang="ru-RU" sz="1400" dirty="0">
                <a:solidFill>
                  <a:srgbClr val="00313C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296663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372182" y="358073"/>
            <a:ext cx="9918973" cy="763588"/>
          </a:xfrm>
        </p:spPr>
        <p:txBody>
          <a:bodyPr/>
          <a:lstStyle/>
          <a:p>
            <a:r>
              <a:rPr lang="ru-RU" sz="2800" dirty="0" smtClean="0"/>
              <a:t>ПРИВЛЕЧЕНИЕ </a:t>
            </a:r>
            <a:r>
              <a:rPr lang="ru-RU" sz="2800" dirty="0" err="1" smtClean="0"/>
              <a:t>АФФИЛИАТОВ</a:t>
            </a:r>
            <a:r>
              <a:rPr lang="ru-RU" sz="2800" dirty="0" smtClean="0"/>
              <a:t> В РФ ПО </a:t>
            </a:r>
            <a:r>
              <a:rPr lang="ru-RU" sz="2800" dirty="0" err="1" smtClean="0"/>
              <a:t>СТ.248.1</a:t>
            </a:r>
            <a:r>
              <a:rPr lang="ru-RU" sz="2800" dirty="0" smtClean="0"/>
              <a:t> АПК РФ</a:t>
            </a:r>
            <a:br>
              <a:rPr lang="ru-RU" sz="2800" dirty="0" smtClean="0"/>
            </a:br>
            <a:r>
              <a:rPr lang="ru-RU" sz="2800" dirty="0" smtClean="0"/>
              <a:t>АКТУАЛЬНАЯ ПРАКТИКА В СУДАХ РФ </a:t>
            </a:r>
            <a:br>
              <a:rPr lang="ru-RU" sz="2800" dirty="0" smtClean="0"/>
            </a:br>
            <a:endParaRPr lang="ru-RU" sz="280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294967295"/>
          </p:nvPr>
        </p:nvSpPr>
        <p:spPr>
          <a:xfrm>
            <a:off x="11349038" y="6408738"/>
            <a:ext cx="842962" cy="365125"/>
          </a:xfrm>
        </p:spPr>
        <p:txBody>
          <a:bodyPr/>
          <a:lstStyle/>
          <a:p>
            <a:fld id="{FBCA3FA6-0CD9-4F8A-8D07-6A53E20F3AF4}" type="slidenum">
              <a:rPr lang="ru-RU" smtClean="0"/>
              <a:t>13</a:t>
            </a:fld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479425" y="1569800"/>
            <a:ext cx="11017175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А</a:t>
            </a:r>
            <a:r>
              <a:rPr lang="ru-RU" sz="20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ресты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: </a:t>
            </a:r>
            <a:endParaRPr lang="ru-RU" sz="2000" dirty="0" smtClean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endParaRPr lang="ru-RU" sz="20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имущества 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3л., не участвующего в споре </a:t>
            </a:r>
            <a:r>
              <a:rPr lang="ru-RU" sz="200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Century Gothic" panose="020B0502020202020204" pitchFamily="34" charset="0"/>
                <a:ea typeface="Verdana" panose="020B0604030504040204" pitchFamily="34" charset="0"/>
                <a:hlinkClick r:id="rId3"/>
              </a:rPr>
              <a:t>А40-236993/22</a:t>
            </a:r>
            <a:r>
              <a:rPr lang="ru-RU" sz="200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акций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, которыми ответчик владеет через 3 лицо </a:t>
            </a:r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А40-170819/2023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err="1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корп.структуры</a:t>
            </a:r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</a:t>
            </a:r>
            <a:r>
              <a:rPr lang="ru-RU" sz="2000" dirty="0">
                <a:solidFill>
                  <a:schemeClr val="accent5">
                    <a:lumMod val="20000"/>
                    <a:lumOff val="80000"/>
                  </a:schemeClr>
                </a:solidFill>
                <a:latin typeface="Century Gothic" panose="020B0502020202020204" pitchFamily="34" charset="0"/>
                <a:ea typeface="Verdana" panose="020B0604030504040204" pitchFamily="34" charset="0"/>
                <a:hlinkClick r:id="rId4"/>
              </a:rPr>
              <a:t>А56-129797/2022</a:t>
            </a:r>
            <a:r>
              <a:rPr lang="ru-RU" sz="2000" dirty="0">
                <a:solidFill>
                  <a:schemeClr val="accent5">
                    <a:lumMod val="20000"/>
                    <a:lumOff val="80000"/>
                  </a:schemeClr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.  </a:t>
            </a:r>
            <a:endParaRPr lang="ru-RU" sz="2000" dirty="0" smtClean="0">
              <a:solidFill>
                <a:schemeClr val="accent5">
                  <a:lumMod val="20000"/>
                  <a:lumOff val="80000"/>
                </a:schemeClr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2000" b="1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r>
              <a:rPr lang="ru-RU" sz="20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Взыскание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: </a:t>
            </a:r>
            <a:endParaRPr lang="ru-RU" sz="2000" dirty="0" smtClean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endParaRPr lang="ru-RU" sz="2000" dirty="0" smtClean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Царьград 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Медиа </a:t>
            </a:r>
            <a:r>
              <a:rPr lang="en-US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v</a:t>
            </a:r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.</a:t>
            </a:r>
            <a:r>
              <a:rPr lang="en-US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Google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, ООО Гугл 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hlinkClick r:id="rId5"/>
              </a:rPr>
              <a:t>А40-155367/2020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; </a:t>
            </a:r>
            <a:endParaRPr lang="ru-RU" sz="2000" dirty="0" smtClean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ОВКОМБАНК </a:t>
            </a:r>
            <a:r>
              <a:rPr lang="en-US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vs  CITIBANK N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.</a:t>
            </a:r>
            <a:r>
              <a:rPr lang="en-US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A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., АО КБ СИТИБАНК 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hlinkClick r:id="rId6"/>
              </a:rPr>
              <a:t>А40-167352/2023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;  </a:t>
            </a:r>
            <a:endParaRPr lang="ru-RU" sz="2000" dirty="0" smtClean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РЖД </a:t>
            </a:r>
            <a:r>
              <a:rPr lang="en-US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vs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Siemens Mobility GmbH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, Сименс Мобильность 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hlinkClick r:id="rId7"/>
              </a:rPr>
              <a:t>А40-257889/2022</a:t>
            </a:r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err="1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овкомбанк</a:t>
            </a:r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 </a:t>
            </a:r>
            <a:r>
              <a:rPr lang="en-US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vs 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UBS SWITZERLAND </a:t>
            </a:r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AG/ООО 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Ю Би Эс Банк </a:t>
            </a:r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hlinkClick r:id="rId8"/>
              </a:rPr>
              <a:t>А31-9252/2023</a:t>
            </a:r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2000" dirty="0" smtClean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r>
              <a:rPr lang="ru-RU" sz="20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Обеспечительные меры-</a:t>
            </a:r>
            <a:r>
              <a:rPr lang="ru-RU" sz="2000" b="1" dirty="0" err="1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антиисковый</a:t>
            </a:r>
            <a:r>
              <a:rPr lang="ru-RU" sz="20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запрет в РФ: </a:t>
            </a:r>
          </a:p>
          <a:p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hlinkClick r:id="rId9"/>
              </a:rPr>
              <a:t>А43-411/2022</a:t>
            </a:r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, </a:t>
            </a:r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hlinkClick r:id="rId10"/>
              </a:rPr>
              <a:t>А32-16666/2023</a:t>
            </a:r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.</a:t>
            </a:r>
            <a:r>
              <a:rPr lang="ru-RU" sz="2000" i="1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4026394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372183" y="358073"/>
            <a:ext cx="9104326" cy="763588"/>
          </a:xfrm>
        </p:spPr>
        <p:txBody>
          <a:bodyPr/>
          <a:lstStyle/>
          <a:p>
            <a:r>
              <a:rPr lang="ru-RU" sz="3200" dirty="0">
                <a:ea typeface="Verdana" panose="020B0604030504040204" pitchFamily="34" charset="0"/>
                <a:cs typeface="Verdana" panose="020B0604030504040204" pitchFamily="34" charset="0"/>
              </a:rPr>
              <a:t>ПОСЛЕДСТВИЯ ПРИМЕНЕНИЯ 248.1 АПК РФ </a:t>
            </a:r>
            <a:br>
              <a:rPr lang="ru-RU" sz="3200" dirty="0"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ru-RU" sz="320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294967295"/>
          </p:nvPr>
        </p:nvSpPr>
        <p:spPr>
          <a:xfrm>
            <a:off x="11349038" y="6408738"/>
            <a:ext cx="842962" cy="365125"/>
          </a:xfrm>
        </p:spPr>
        <p:txBody>
          <a:bodyPr/>
          <a:lstStyle/>
          <a:p>
            <a:fld id="{FBCA3FA6-0CD9-4F8A-8D07-6A53E20F3AF4}" type="slidenum">
              <a:rPr lang="ru-RU" smtClean="0"/>
              <a:t>14</a:t>
            </a:fld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479425" y="1160463"/>
            <a:ext cx="11221139" cy="49552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1200"/>
              </a:spcBef>
              <a:buClr>
                <a:srgbClr val="9BC32F"/>
              </a:buClr>
              <a:buSzPct val="150000"/>
              <a:buFont typeface="Arial" panose="020B0604020202020204" pitchFamily="34" charset="0"/>
              <a:buChar char="•"/>
              <a:defRPr/>
            </a:pPr>
            <a:endParaRPr lang="ru-RU" sz="1600" b="1" dirty="0" smtClean="0">
              <a:solidFill>
                <a:schemeClr val="accent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285750" indent="-285750">
              <a:spcBef>
                <a:spcPts val="1200"/>
              </a:spcBef>
              <a:buClr>
                <a:srgbClr val="9BC32F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Ограничения совершения сделок и потенциальное включение в список (?</a:t>
            </a:r>
            <a:r>
              <a:rPr lang="ru-RU" sz="1600" b="1" dirty="0" err="1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анкционный</a:t>
            </a:r>
            <a:r>
              <a:rPr 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)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– ст.5ab и 11 Регламента ЕС 2024/1745 (поправки </a:t>
            </a:r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в Регламент № 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833/2014) запрет </a:t>
            </a:r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прямо или косвенно совершать любые сделки с российскими лицами, которые 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обратились в суды РФ по ст. 248 </a:t>
            </a:r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АПК 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РФ (достаточно самого факта, даже не вынесения решения) в </a:t>
            </a:r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вязи с любыми сделками, на исполнение которых прямо или косвенно повлияли ограничительные меры 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ЕС, ведение списка (</a:t>
            </a:r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приложение XLIII к Регламенту № 833/2014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).</a:t>
            </a:r>
          </a:p>
          <a:p>
            <a:pPr marL="285750" indent="-285750">
              <a:spcBef>
                <a:spcPts val="1200"/>
              </a:spcBef>
              <a:buClr>
                <a:srgbClr val="9BC32F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Применяется ли ретроспективно? </a:t>
            </a:r>
            <a:endParaRPr lang="ru-RU" sz="1600" b="1" dirty="0" smtClean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Bef>
                <a:spcPts val="1200"/>
              </a:spcBef>
              <a:buClr>
                <a:srgbClr val="9BC32F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6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ti-suit injunction</a:t>
            </a:r>
            <a:r>
              <a:rPr 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en-US" sz="16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ASI</a:t>
            </a:r>
            <a:r>
              <a:rPr lang="ru-RU" sz="16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) </a:t>
            </a:r>
            <a:r>
              <a:rPr lang="ru-RU" sz="16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может быть вынесен даже </a:t>
            </a:r>
            <a:r>
              <a:rPr lang="ru-RU" sz="16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место арбитража/разбирательства не </a:t>
            </a:r>
            <a:r>
              <a:rPr lang="ru-RU" sz="16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в Англии (например, если английское право применимо к договору)</a:t>
            </a:r>
            <a:r>
              <a:rPr lang="en-US" sz="16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  <a:r>
              <a:rPr lang="en-US" sz="16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-</a:t>
            </a:r>
            <a:r>
              <a:rPr lang="en-US" sz="1600" dirty="0" err="1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hlinkClick r:id="rId3"/>
              </a:rPr>
              <a:t>Unicredit</a:t>
            </a:r>
            <a:r>
              <a:rPr lang="en-US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hlinkClick r:id="rId3"/>
              </a:rPr>
              <a:t> </a:t>
            </a:r>
            <a:r>
              <a:rPr lang="en-US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hlinkClick r:id="rId3"/>
              </a:rPr>
              <a:t>Bank GmbH v </a:t>
            </a:r>
            <a:r>
              <a:rPr lang="en-US" sz="16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hlinkClick r:id="rId3"/>
              </a:rPr>
              <a:t>RusChemAlliance</a:t>
            </a:r>
            <a:r>
              <a:rPr lang="en-US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hlinkClick r:id="rId3"/>
              </a:rPr>
              <a:t> LLC [2024] EWCA </a:t>
            </a:r>
            <a:r>
              <a:rPr lang="en-US" sz="16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hlinkClick r:id="rId3"/>
              </a:rPr>
              <a:t>Civ</a:t>
            </a:r>
            <a:r>
              <a:rPr lang="en-US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hlinkClick r:id="rId3"/>
              </a:rPr>
              <a:t> 64</a:t>
            </a:r>
            <a:endParaRPr lang="ru-RU" sz="16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285750" lvl="0" indent="-285750">
              <a:spcBef>
                <a:spcPts val="1200"/>
              </a:spcBef>
              <a:buClr>
                <a:srgbClr val="9BC32F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6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Deutsche </a:t>
            </a:r>
            <a:r>
              <a:rPr lang="en-US" sz="16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Bank AG v </a:t>
            </a:r>
            <a:r>
              <a:rPr lang="en-US" sz="1600" kern="1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RusChemAlliance</a:t>
            </a:r>
            <a:r>
              <a:rPr lang="en-US" sz="16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LLC  Court of Appeal (Civil Division) 11 October 2023</a:t>
            </a:r>
            <a:r>
              <a:rPr lang="en-US" sz="16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ommerzbank </a:t>
            </a:r>
            <a:r>
              <a:rPr lang="en-US" sz="16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v </a:t>
            </a:r>
            <a:r>
              <a:rPr lang="en-US" sz="1600" kern="1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RusChemAlliance</a:t>
            </a:r>
            <a:r>
              <a:rPr lang="en-US" sz="16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LLC [2023] EWHC 2510 (</a:t>
            </a:r>
            <a:r>
              <a:rPr lang="en-US" sz="1600" kern="1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omm</a:t>
            </a:r>
            <a:r>
              <a:rPr lang="en-US" sz="16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)</a:t>
            </a:r>
            <a:r>
              <a:rPr lang="ru-RU" sz="16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, </a:t>
            </a:r>
            <a:r>
              <a:rPr lang="en-US" sz="16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Renaissance Securities (Cyprus) </a:t>
            </a:r>
            <a:r>
              <a:rPr lang="en-US" sz="16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td v </a:t>
            </a:r>
            <a:r>
              <a:rPr lang="en-US" sz="1600" kern="1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hlodwig</a:t>
            </a:r>
            <a:r>
              <a:rPr lang="en-US" sz="16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Enterprises Ltd [2023] EWHC 2816 (</a:t>
            </a:r>
            <a:r>
              <a:rPr lang="en-US" sz="1600" kern="1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omm</a:t>
            </a:r>
            <a:r>
              <a:rPr lang="en-US" sz="16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)</a:t>
            </a:r>
            <a:r>
              <a:rPr lang="ru-RU" sz="16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, </a:t>
            </a:r>
          </a:p>
          <a:p>
            <a:pPr marL="285750" indent="-285750">
              <a:spcBef>
                <a:spcPts val="1200"/>
              </a:spcBef>
              <a:buClr>
                <a:srgbClr val="9BC32F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Sec.37 </a:t>
            </a:r>
            <a:r>
              <a:rPr lang="en-US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of Senior Court Act 1981</a:t>
            </a:r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: Английские суды могут выносить </a:t>
            </a:r>
            <a:r>
              <a:rPr lang="en-US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SI </a:t>
            </a:r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«</a:t>
            </a:r>
            <a:r>
              <a:rPr lang="ru-RU" sz="1600" b="1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во всех случаях, когда суд считает это справедливым и удобным</a:t>
            </a:r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»</a:t>
            </a:r>
            <a:endParaRPr lang="ru-RU" sz="16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endParaRPr lang="ru-RU" sz="1600" dirty="0" err="1" smtClean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7686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4000" dirty="0" smtClean="0">
                <a:ea typeface="Verdana" panose="020B0604030504040204" pitchFamily="34" charset="0"/>
                <a:cs typeface="Verdana" panose="020B0604030504040204" pitchFamily="34" charset="0"/>
              </a:rPr>
              <a:t>ANTI-SUIT INJUNCTION</a:t>
            </a:r>
            <a:r>
              <a:rPr lang="ru-RU" sz="4000" dirty="0" smtClean="0"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en-US" sz="4000" kern="100" dirty="0" err="1" smtClean="0">
                <a:ea typeface="Verdana" panose="020B0604030504040204" pitchFamily="34" charset="0"/>
                <a:cs typeface="Calibri" panose="020F0502020204030204" pitchFamily="34" charset="0"/>
              </a:rPr>
              <a:t>ASI</a:t>
            </a:r>
            <a:r>
              <a:rPr lang="ru-RU" sz="4000" kern="100" dirty="0" smtClean="0">
                <a:ea typeface="Verdana" panose="020B0604030504040204" pitchFamily="34" charset="0"/>
                <a:cs typeface="Calibri" panose="020F0502020204030204" pitchFamily="34" charset="0"/>
              </a:rPr>
              <a:t>)</a:t>
            </a:r>
            <a:endParaRPr lang="ru-RU" sz="4000" dirty="0" smtClean="0"/>
          </a:p>
          <a:p>
            <a:endParaRPr lang="ru-RU" sz="400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72183" y="1023938"/>
            <a:ext cx="11406952" cy="3917950"/>
          </a:xfrm>
        </p:spPr>
        <p:txBody>
          <a:bodyPr/>
          <a:lstStyle/>
          <a:p>
            <a:pPr lvl="0">
              <a:spcBef>
                <a:spcPts val="1200"/>
              </a:spcBef>
              <a:buClr>
                <a:srgbClr val="9BC32F"/>
              </a:buClr>
              <a:buSzPct val="150000"/>
              <a:defRPr/>
            </a:pPr>
            <a:r>
              <a:rPr lang="ru-RU" sz="1500" b="1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Последствие </a:t>
            </a:r>
            <a:r>
              <a:rPr lang="ru-RU" sz="1500" b="1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несоблюдения запрета </a:t>
            </a:r>
            <a:r>
              <a:rPr lang="ru-RU" sz="15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– привлечение </a:t>
            </a:r>
            <a:r>
              <a:rPr lang="ru-RU" sz="15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к ответственности за неуважение к суду</a:t>
            </a:r>
            <a:r>
              <a:rPr lang="ru-RU" sz="15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.</a:t>
            </a:r>
            <a:br>
              <a:rPr lang="ru-RU" sz="15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</a:br>
            <a:r>
              <a:rPr lang="ru-RU" sz="15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/>
            </a:r>
            <a:br>
              <a:rPr lang="ru-RU" sz="15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</a:br>
            <a:r>
              <a:rPr lang="ru-RU" sz="15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- Уголовная </a:t>
            </a:r>
            <a:r>
              <a:rPr lang="ru-RU" sz="15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ответственность (в </a:t>
            </a:r>
            <a:r>
              <a:rPr lang="ru-RU" sz="1500" kern="1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т.ч</a:t>
            </a:r>
            <a:r>
              <a:rPr lang="ru-RU" sz="15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. менеджмента компании и представителей по делу) - </a:t>
            </a:r>
            <a:r>
              <a:rPr lang="en-US" sz="15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Dell Emerging Markets (EMEA) Ltd v Systems Equipment Services SARL</a:t>
            </a:r>
            <a:r>
              <a:rPr lang="ru-RU" sz="15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/>
            </a:r>
            <a:br>
              <a:rPr lang="ru-RU" sz="15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</a:br>
            <a:r>
              <a:rPr lang="ru-RU" sz="15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- Штраф</a:t>
            </a:r>
            <a:r>
              <a:rPr lang="ru-RU" sz="15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, </a:t>
            </a:r>
            <a:r>
              <a:rPr lang="ru-RU" sz="1500" kern="1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секвестирование</a:t>
            </a:r>
            <a:r>
              <a:rPr lang="ru-RU" sz="15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активов</a:t>
            </a:r>
            <a:br>
              <a:rPr lang="ru-RU" sz="15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</a:br>
            <a:r>
              <a:rPr lang="ru-RU" sz="15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/>
            </a:r>
            <a:br>
              <a:rPr lang="ru-RU" sz="15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</a:br>
            <a:r>
              <a:rPr lang="ru-RU" sz="1500" b="1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Кого могут привлечь? </a:t>
            </a:r>
            <a:r>
              <a:rPr lang="ru-RU" sz="1500" b="1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/>
            </a:r>
            <a:br>
              <a:rPr lang="ru-RU" sz="1500" b="1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</a:br>
            <a:r>
              <a:rPr lang="ru-RU" sz="15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/>
            </a:r>
            <a:br>
              <a:rPr lang="ru-RU" sz="15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</a:br>
            <a:r>
              <a:rPr lang="ru-RU" sz="15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В 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деле </a:t>
            </a:r>
            <a:r>
              <a:rPr lang="ru-RU" sz="15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Renaissance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</a:t>
            </a:r>
            <a:r>
              <a:rPr lang="ru-RU" sz="15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Securities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(</a:t>
            </a:r>
            <a:r>
              <a:rPr lang="ru-RU" sz="15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Cyprus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) </a:t>
            </a:r>
            <a:r>
              <a:rPr lang="ru-RU" sz="15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Ltd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v </a:t>
            </a:r>
            <a:r>
              <a:rPr lang="ru-RU" sz="15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Chlodwig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</a:t>
            </a:r>
            <a:r>
              <a:rPr lang="ru-RU" sz="15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Enterprises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</a:t>
            </a:r>
            <a:r>
              <a:rPr lang="ru-RU" sz="15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Ltd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</a:t>
            </a:r>
            <a:r>
              <a:rPr lang="ru-RU" sz="15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and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</a:t>
            </a:r>
            <a:r>
              <a:rPr lang="ru-RU" sz="15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others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[2023] EWHC 3160 английский суд указал, что, помимо директоров и должностных лиц юридического лица, к ответственности за неуважение к суду могут также привлекаться: </a:t>
            </a:r>
            <a:r>
              <a:rPr lang="ru-RU" sz="15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/>
            </a:r>
            <a:br>
              <a:rPr lang="ru-RU" sz="15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</a:br>
            <a:r>
              <a:rPr lang="ru-RU" sz="15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→ </a:t>
            </a:r>
            <a:r>
              <a:rPr lang="ru-RU" sz="1500" b="1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таршие менеджеры </a:t>
            </a:r>
            <a:r>
              <a:rPr lang="ru-RU" sz="15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/>
            </a:r>
            <a:br>
              <a:rPr lang="ru-RU" sz="15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</a:br>
            <a:r>
              <a:rPr lang="ru-RU" sz="15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→ </a:t>
            </a:r>
            <a:r>
              <a:rPr lang="ru-RU" sz="1500" b="1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конечные бенефициары </a:t>
            </a:r>
            <a:r>
              <a:rPr lang="ru-RU" sz="15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компании</a:t>
            </a:r>
            <a:br>
              <a:rPr lang="ru-RU" sz="15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</a:br>
            <a:r>
              <a:rPr lang="ru-RU" sz="15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</a:t>
            </a:r>
            <a:r>
              <a:rPr lang="ru-RU" sz="1500" b="1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→ другие </a:t>
            </a:r>
            <a:r>
              <a:rPr lang="ru-RU" sz="15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лица</a:t>
            </a:r>
            <a:br>
              <a:rPr lang="ru-RU" sz="15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</a:br>
            <a:r>
              <a:rPr lang="ru-RU" sz="15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если они сознательно помогают ответчику в нарушении </a:t>
            </a:r>
            <a:r>
              <a:rPr lang="ru-RU" sz="15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антиискового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запрета. </a:t>
            </a:r>
            <a:r>
              <a:rPr lang="ru-RU" sz="15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/>
            </a:r>
            <a:br>
              <a:rPr lang="ru-RU" sz="15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</a:b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/>
            </a:r>
            <a:b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</a:br>
            <a:r>
              <a:rPr lang="ru-RU" sz="15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Для 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привлечения лиц к ответственности за неуважение к суду требуется доказать, что они: </a:t>
            </a:r>
            <a:r>
              <a:rPr lang="ru-RU" sz="15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/>
            </a:r>
            <a:br>
              <a:rPr lang="ru-RU" sz="15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</a:br>
            <a:r>
              <a:rPr lang="ru-RU" sz="15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→ 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знали о вынесенном против компании судебном акте и </a:t>
            </a:r>
            <a:r>
              <a:rPr lang="ru-RU" sz="15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/>
            </a:r>
            <a:br>
              <a:rPr lang="ru-RU" sz="15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</a:br>
            <a:r>
              <a:rPr lang="ru-RU" sz="15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→ 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овершали действия, способствующие неисполнению судебного </a:t>
            </a:r>
            <a:r>
              <a:rPr lang="ru-RU" sz="15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акта</a:t>
            </a:r>
            <a:br>
              <a:rPr lang="ru-RU" sz="15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</a:b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/>
            </a:r>
            <a:b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</a:br>
            <a:r>
              <a:rPr lang="ru-RU" sz="1500" b="1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Простое бездействие («</a:t>
            </a:r>
            <a:r>
              <a:rPr lang="en-US" sz="1500" b="1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mere inactivity») </a:t>
            </a:r>
            <a:r>
              <a:rPr lang="ru-RU" sz="1500" b="1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по общему правилу не должно наказываться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, однако это </a:t>
            </a:r>
            <a:r>
              <a:rPr lang="ru-RU" sz="15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може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зависеть от конкретной формулировки </a:t>
            </a:r>
            <a:r>
              <a:rPr lang="ru-RU" sz="15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антиискового</a:t>
            </a:r>
            <a:r>
              <a:rPr lang="ru-RU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запрета (</a:t>
            </a:r>
            <a:r>
              <a:rPr lang="en-US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Attorney-General for Tuvalu v Philatelic Distribution Corporation Ltd [1990] 1 WLR 926; Dar Al </a:t>
            </a:r>
            <a:r>
              <a:rPr lang="en-US" sz="15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Arkan</a:t>
            </a:r>
            <a:r>
              <a:rPr lang="en-US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Real Estate Development Co v Al </a:t>
            </a:r>
            <a:r>
              <a:rPr lang="en-US" sz="15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Refai</a:t>
            </a:r>
            <a:r>
              <a:rPr lang="en-US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[2014] EWHC </a:t>
            </a:r>
            <a:r>
              <a:rPr lang="en-US" sz="15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Civ</a:t>
            </a:r>
            <a:r>
              <a:rPr lang="en-US" sz="15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715).</a:t>
            </a:r>
            <a:endParaRPr lang="ru-RU" sz="15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294967295"/>
          </p:nvPr>
        </p:nvSpPr>
        <p:spPr>
          <a:xfrm>
            <a:off x="11349038" y="6408738"/>
            <a:ext cx="842962" cy="365125"/>
          </a:xfrm>
        </p:spPr>
        <p:txBody>
          <a:bodyPr/>
          <a:lstStyle/>
          <a:p>
            <a:fld id="{FBCA3FA6-0CD9-4F8A-8D07-6A53E20F3AF4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2451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1074441"/>
              </p:ext>
            </p:extLst>
          </p:nvPr>
        </p:nvGraphicFramePr>
        <p:xfrm>
          <a:off x="522223" y="952096"/>
          <a:ext cx="11282850" cy="51242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6509">
                  <a:extLst>
                    <a:ext uri="{9D8B030D-6E8A-4147-A177-3AD203B41FA5}">
                      <a16:colId xmlns:a16="http://schemas.microsoft.com/office/drawing/2014/main" val="507434386"/>
                    </a:ext>
                  </a:extLst>
                </a:gridCol>
                <a:gridCol w="8126341">
                  <a:extLst>
                    <a:ext uri="{9D8B030D-6E8A-4147-A177-3AD203B41FA5}">
                      <a16:colId xmlns:a16="http://schemas.microsoft.com/office/drawing/2014/main" val="4174416820"/>
                    </a:ext>
                  </a:extLst>
                </a:gridCol>
              </a:tblGrid>
              <a:tr h="627322">
                <a:tc>
                  <a:txBody>
                    <a:bodyPr/>
                    <a:lstStyle/>
                    <a:p>
                      <a:r>
                        <a:rPr lang="ru-RU" sz="2400" b="0" dirty="0" smtClean="0">
                          <a:solidFill>
                            <a:schemeClr val="accent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ЮРИСДИКЦИЯ</a:t>
                      </a:r>
                      <a:endParaRPr lang="ru-RU" sz="2400" b="0" dirty="0">
                        <a:solidFill>
                          <a:schemeClr val="accent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b="0" dirty="0" smtClean="0">
                          <a:solidFill>
                            <a:schemeClr val="accent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ЕСТЬ</a:t>
                      </a:r>
                      <a:r>
                        <a:rPr lang="ru-RU" sz="2400" b="0" baseline="0" dirty="0" smtClean="0">
                          <a:solidFill>
                            <a:schemeClr val="accent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ЛИ НОРМЫ ОБ </a:t>
                      </a:r>
                      <a:r>
                        <a:rPr lang="en-US" sz="2400" b="0" baseline="0" dirty="0" smtClean="0">
                          <a:solidFill>
                            <a:schemeClr val="accent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ANTI-SUIT INJUNCTION</a:t>
                      </a:r>
                      <a:endParaRPr lang="ru-RU" sz="2400" b="0" dirty="0">
                        <a:solidFill>
                          <a:schemeClr val="accent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5184219"/>
                  </a:ext>
                </a:extLst>
              </a:tr>
              <a:tr h="1810597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Великобритания</a:t>
                      </a:r>
                      <a:endParaRPr lang="ru-RU" sz="16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Да (Закон о высших судах 1981; Практическое руководство к правилам гражданского</a:t>
                      </a:r>
                      <a:r>
                        <a:rPr lang="ru-RU" sz="16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судопроизводства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Применимое право – английское = возможность применения </a:t>
                      </a:r>
                      <a:r>
                        <a:rPr lang="en-US" sz="16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anti-suit injunction </a:t>
                      </a:r>
                      <a:r>
                        <a:rPr lang="ru-RU" sz="16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к делу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Серьезные негативные последствия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650864"/>
                  </a:ext>
                </a:extLst>
              </a:tr>
              <a:tr h="1810597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Германия</a:t>
                      </a:r>
                      <a:endParaRPr lang="ru-RU" sz="16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Нет</a:t>
                      </a:r>
                      <a:r>
                        <a:rPr lang="ru-RU" sz="16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, в судебной практике лишь 1 пример (2019 г., Мюнхен)</a:t>
                      </a:r>
                    </a:p>
                    <a:p>
                      <a:r>
                        <a:rPr lang="ru-RU" sz="16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Позиция высших судов: «Судебный запрет на подачу иска … неизвестен германскому праву, … однако </a:t>
                      </a:r>
                      <a:r>
                        <a:rPr lang="ru-RU" sz="1600" b="1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может вытекать </a:t>
                      </a:r>
                      <a:r>
                        <a:rPr lang="ru-RU" sz="16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из договорных обязательств или ранее совершенного правонарушения»</a:t>
                      </a:r>
                      <a:endParaRPr lang="ru-RU" sz="16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0212580"/>
                  </a:ext>
                </a:extLst>
              </a:tr>
              <a:tr h="875761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Франция</a:t>
                      </a:r>
                      <a:endParaRPr lang="ru-RU" sz="16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Нет</a:t>
                      </a:r>
                      <a:r>
                        <a:rPr lang="ru-RU" sz="16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: нарушение конституционных принципов и идей либерализма, злостная конкуренция правовых систем</a:t>
                      </a:r>
                      <a:endParaRPr lang="ru-RU" sz="16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35248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4069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0978995"/>
              </p:ext>
            </p:extLst>
          </p:nvPr>
        </p:nvGraphicFramePr>
        <p:xfrm>
          <a:off x="429725" y="1537682"/>
          <a:ext cx="11282850" cy="4306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6509">
                  <a:extLst>
                    <a:ext uri="{9D8B030D-6E8A-4147-A177-3AD203B41FA5}">
                      <a16:colId xmlns:a16="http://schemas.microsoft.com/office/drawing/2014/main" val="507434386"/>
                    </a:ext>
                  </a:extLst>
                </a:gridCol>
                <a:gridCol w="8126341">
                  <a:extLst>
                    <a:ext uri="{9D8B030D-6E8A-4147-A177-3AD203B41FA5}">
                      <a16:colId xmlns:a16="http://schemas.microsoft.com/office/drawing/2014/main" val="4174416820"/>
                    </a:ext>
                  </a:extLst>
                </a:gridCol>
              </a:tblGrid>
              <a:tr h="648565">
                <a:tc>
                  <a:txBody>
                    <a:bodyPr/>
                    <a:lstStyle/>
                    <a:p>
                      <a:r>
                        <a:rPr lang="ru-RU" sz="2000" b="0" dirty="0" smtClean="0">
                          <a:solidFill>
                            <a:schemeClr val="accent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ЮРИСДИКЦИЯ</a:t>
                      </a:r>
                      <a:endParaRPr lang="ru-RU" sz="2000" b="0" dirty="0">
                        <a:solidFill>
                          <a:schemeClr val="accent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b="0" dirty="0" smtClean="0">
                          <a:solidFill>
                            <a:schemeClr val="accent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ЕСТЬ</a:t>
                      </a:r>
                      <a:r>
                        <a:rPr lang="ru-RU" sz="2000" b="0" baseline="0" dirty="0" smtClean="0">
                          <a:solidFill>
                            <a:schemeClr val="accent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ЛИ НОРМЫ ОБ </a:t>
                      </a:r>
                      <a:r>
                        <a:rPr lang="en-US" sz="2000" b="0" baseline="0" dirty="0" smtClean="0">
                          <a:solidFill>
                            <a:schemeClr val="accent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ANTI-SUIT INJUNCTION</a:t>
                      </a:r>
                      <a:endParaRPr lang="ru-RU" sz="2000" b="0" dirty="0">
                        <a:solidFill>
                          <a:schemeClr val="accent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5184219"/>
                  </a:ext>
                </a:extLst>
              </a:tr>
              <a:tr h="130590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Бразилия, Чили, ЮАР</a:t>
                      </a:r>
                      <a:endParaRPr lang="ru-RU" sz="18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Закон</a:t>
                      </a: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не содержит, сформировавшейся практики нет</a:t>
                      </a:r>
                    </a:p>
                    <a:p>
                      <a:endParaRPr lang="ru-RU" sz="18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0212580"/>
                  </a:ext>
                </a:extLst>
              </a:tr>
              <a:tr h="552323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Аргентина</a:t>
                      </a:r>
                      <a:endParaRPr lang="ru-RU" sz="18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Нет:</a:t>
                      </a: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</a:t>
                      </a:r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нарушение</a:t>
                      </a: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конституционного права на доступ к правосудию</a:t>
                      </a:r>
                    </a:p>
                    <a:p>
                      <a:r>
                        <a:rPr lang="ru-RU" sz="18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Однако на практике известен пример применения </a:t>
                      </a:r>
                      <a:r>
                        <a:rPr lang="en-US" sz="18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ASI </a:t>
                      </a: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(государственный суд запретил исполнять решение арбитража, поскольку оно было вынесено в нарушение </a:t>
                      </a:r>
                      <a:r>
                        <a:rPr lang="en-US" sz="18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anti-suit injunction</a:t>
                      </a: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)</a:t>
                      </a:r>
                      <a:endParaRPr lang="ru-RU" sz="18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3524823"/>
                  </a:ext>
                </a:extLst>
              </a:tr>
              <a:tr h="552323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Коста-Рика, Малайзия</a:t>
                      </a:r>
                      <a:endParaRPr lang="ru-RU" sz="18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Anti-suit injunctions </a:t>
                      </a:r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могут быть реализованы как одна из обеспечительных мер (перечень открытый)</a:t>
                      </a:r>
                      <a:endParaRPr lang="ru-RU" sz="18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0244039"/>
                  </a:ext>
                </a:extLst>
              </a:tr>
              <a:tr h="552323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Индия</a:t>
                      </a:r>
                      <a:endParaRPr lang="ru-RU" sz="18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Да</a:t>
                      </a: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(рецепция английского права)</a:t>
                      </a:r>
                      <a:br>
                        <a:rPr lang="ru-RU" sz="18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</a:b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Институт сформировался в практике Верховного Суда Индии, принципы и случаи применения </a:t>
                      </a:r>
                      <a:r>
                        <a:rPr lang="en-US" sz="18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ASI </a:t>
                      </a: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сформулированы широко, большая дискреция судебного органа</a:t>
                      </a:r>
                      <a:endParaRPr lang="ru-RU" sz="18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77495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700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Заголовок 66"/>
          <p:cNvSpPr>
            <a:spLocks noGrp="1"/>
          </p:cNvSpPr>
          <p:nvPr>
            <p:ph type="title"/>
          </p:nvPr>
        </p:nvSpPr>
        <p:spPr>
          <a:xfrm>
            <a:off x="-2032658" y="1821333"/>
            <a:ext cx="10222841" cy="669546"/>
          </a:xfrm>
        </p:spPr>
        <p:txBody>
          <a:bodyPr vert="horz"/>
          <a:lstStyle/>
          <a:p>
            <a:pPr algn="ctr"/>
            <a:r>
              <a:rPr lang="ru-RU" sz="2800" dirty="0" smtClean="0">
                <a:latin typeface="Century Gothic" panose="020B0502020202020204" pitchFamily="34" charset="0"/>
              </a:rPr>
              <a:t>СПАСИБО ЗА ВНИМАНИЕ! </a:t>
            </a:r>
            <a:endParaRPr lang="ru-RU" sz="2800" dirty="0">
              <a:latin typeface="Century Gothic" panose="020B0502020202020204" pitchFamily="34" charset="0"/>
            </a:endParaRPr>
          </a:p>
        </p:txBody>
      </p:sp>
      <p:sp>
        <p:nvSpPr>
          <p:cNvPr id="66" name="Текст 65"/>
          <p:cNvSpPr>
            <a:spLocks noGrp="1"/>
          </p:cNvSpPr>
          <p:nvPr>
            <p:ph type="body" sz="quarter" idx="43"/>
          </p:nvPr>
        </p:nvSpPr>
        <p:spPr>
          <a:xfrm>
            <a:off x="923328" y="3236858"/>
            <a:ext cx="4105872" cy="2072217"/>
          </a:xfrm>
        </p:spPr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sz="2800" b="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+mj-cs"/>
              </a:rPr>
              <a:t>Марина Басова</a:t>
            </a:r>
          </a:p>
          <a:p>
            <a:pPr lvl="2">
              <a:buClr>
                <a:srgbClr val="008C95"/>
              </a:buClr>
            </a:pPr>
            <a:endParaRPr lang="ru-RU" altLang="en-US" sz="16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lvl="0" eaLnBrk="0" hangingPunct="0">
              <a:spcBef>
                <a:spcPct val="0"/>
              </a:spcBef>
              <a:buClrTx/>
            </a:pPr>
            <a:r>
              <a:rPr lang="ru-RU" sz="1600" b="0" kern="12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Руководитель практики</a:t>
            </a:r>
            <a:br>
              <a:rPr lang="ru-RU" sz="1600" b="0" kern="12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</a:br>
            <a:r>
              <a:rPr lang="ru-RU" sz="1600" b="0" kern="12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Претензионно</a:t>
            </a:r>
            <a:r>
              <a:rPr lang="ru-RU" sz="1600" b="0" kern="12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-судебная работа </a:t>
            </a:r>
          </a:p>
          <a:p>
            <a:pPr lvl="0" eaLnBrk="0" hangingPunct="0">
              <a:spcBef>
                <a:spcPct val="0"/>
              </a:spcBef>
              <a:buClrTx/>
            </a:pPr>
            <a:r>
              <a:rPr lang="ru-RU" sz="1600" b="0" kern="12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Юридическая поддержка ООО «СИБУР»</a:t>
            </a:r>
            <a:br>
              <a:rPr lang="ru-RU" sz="1600" b="0" kern="12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</a:br>
            <a:r>
              <a:rPr lang="en-US" altLang="ru-RU" sz="1600" b="0" kern="12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hlinkClick r:id="rId6"/>
              </a:rPr>
              <a:t>basovame@sibur.ru</a:t>
            </a:r>
            <a:r>
              <a:rPr lang="en-US" altLang="ru-RU" sz="1600" b="0" kern="12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</a:t>
            </a:r>
            <a:endParaRPr lang="ru-RU" altLang="ru-RU" sz="1600" b="0" kern="12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lvl="0" eaLnBrk="0" hangingPunct="0">
              <a:spcBef>
                <a:spcPct val="0"/>
              </a:spcBef>
              <a:spcAft>
                <a:spcPct val="0"/>
              </a:spcAft>
              <a:buClrTx/>
            </a:pPr>
            <a:endParaRPr lang="ru-RU" altLang="ru-RU" sz="1600" b="0" kern="12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lvl="0" eaLnBrk="0" hangingPunct="0">
              <a:spcBef>
                <a:spcPct val="0"/>
              </a:spcBef>
              <a:spcAft>
                <a:spcPct val="0"/>
              </a:spcAft>
            </a:pPr>
            <a:r>
              <a:rPr lang="ru-RU" altLang="en-US" sz="1600" b="0" kern="12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моб: +7 912 920 57 48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2" b="3602"/>
          <a:stretch>
            <a:fillRect/>
          </a:stretch>
        </p:blipFill>
        <p:spPr>
          <a:xfrm>
            <a:off x="5962370" y="1701170"/>
            <a:ext cx="4455627" cy="432048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817661627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372183" y="358073"/>
            <a:ext cx="10288244" cy="763588"/>
          </a:xfrm>
        </p:spPr>
        <p:txBody>
          <a:bodyPr/>
          <a:lstStyle/>
          <a:p>
            <a:r>
              <a:rPr lang="ru-RU" sz="3600" dirty="0" smtClean="0"/>
              <a:t>СТРУКТУРИРОВАНИЕ ДОГОВОРНЫХ УСЛОВИЙ И ОГОВОРОК </a:t>
            </a:r>
          </a:p>
          <a:p>
            <a:endParaRPr lang="ru-RU" sz="36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0" y="0"/>
            <a:ext cx="1409700" cy="1290638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30" name="Номер слайда 5"/>
          <p:cNvSpPr txBox="1">
            <a:spLocks/>
          </p:cNvSpPr>
          <p:nvPr/>
        </p:nvSpPr>
        <p:spPr>
          <a:xfrm>
            <a:off x="11297287" y="6392551"/>
            <a:ext cx="580703" cy="311150"/>
          </a:xfrm>
          <a:prstGeom prst="rect">
            <a:avLst/>
          </a:prstGeom>
        </p:spPr>
        <p:txBody>
          <a:bodyPr anchor="b"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400" b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400" b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b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b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b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CA3FA6-0CD9-4F8A-8D07-6A53E20F3AF4}" type="slidenum">
              <a:rPr lang="ru-RU" smtClean="0">
                <a:latin typeface="Verdana" panose="020B0604030504040204" pitchFamily="34" charset="0"/>
                <a:ea typeface="Verdana" panose="020B0604030504040204" pitchFamily="34" charset="0"/>
              </a:rPr>
              <a:pPr/>
              <a:t>2</a:t>
            </a:fld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07368" y="1648711"/>
            <a:ext cx="32403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ВЫБОР ПРИМЕНИМОГО ПРАВА (В </a:t>
            </a:r>
            <a:r>
              <a:rPr lang="ru-RU" dirty="0" err="1" smtClean="0">
                <a:solidFill>
                  <a:schemeClr val="accent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Т.Ч</a:t>
            </a:r>
            <a:r>
              <a:rPr lang="ru-RU" dirty="0" smtClean="0">
                <a:solidFill>
                  <a:schemeClr val="accent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. К ОГОВОРКЕ)</a:t>
            </a:r>
            <a:endParaRPr lang="ru-RU" dirty="0">
              <a:solidFill>
                <a:schemeClr val="accent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8200052" y="1635887"/>
            <a:ext cx="34088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ВЫБОР АРБИТРАЖНОГО ИНСТИТУТА</a:t>
            </a:r>
            <a:endParaRPr lang="ru-RU" dirty="0">
              <a:solidFill>
                <a:schemeClr val="accent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418838" y="1647151"/>
            <a:ext cx="27363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ВЫБОР МЕСТА АРБИТРАЖА</a:t>
            </a:r>
          </a:p>
          <a:p>
            <a:endParaRPr lang="ru-RU" dirty="0">
              <a:solidFill>
                <a:schemeClr val="accent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79425" y="2570481"/>
            <a:ext cx="3243910" cy="33239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Максимально нейтральное либо «дружественное»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анкции (как часть права) и их влияние на спор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Расходы на консультантов и их доступность. </a:t>
            </a:r>
          </a:p>
          <a:p>
            <a:pPr algn="just"/>
            <a:endParaRPr lang="ru-RU" sz="1600" dirty="0" smtClean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268288" algn="just"/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Право РФ, Гонконга (особенно если ранее использовали право Англии), Китая. </a:t>
            </a:r>
            <a:endParaRPr lang="en-US" sz="16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268288" algn="just"/>
            <a:endParaRPr lang="ru-RU" sz="12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268288" algn="just"/>
            <a:r>
              <a:rPr lang="ru-RU" sz="12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Избегаем Англии и </a:t>
            </a:r>
            <a:r>
              <a:rPr lang="ru-RU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ЕС (а</a:t>
            </a:r>
            <a:r>
              <a:rPr lang="en-US" sz="1200" dirty="0" err="1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nti</a:t>
            </a:r>
            <a:r>
              <a:rPr lang="en-US" sz="12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-suit</a:t>
            </a:r>
            <a:r>
              <a:rPr lang="ru-RU" sz="12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) 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263014" y="2570481"/>
            <a:ext cx="3704753" cy="33239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268288" indent="-268288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Нейтральность </a:t>
            </a:r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юрисдикции </a:t>
            </a:r>
            <a:endParaRPr lang="ru-RU" sz="1600" dirty="0" smtClean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marL="266700" indent="-266700" algn="just"/>
            <a:r>
              <a:rPr lang="ru-RU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    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(особенно </a:t>
            </a:r>
            <a:r>
              <a:rPr 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вне ЕС в свете ст.11 Регламентов Совета ЕС № 833/2014 от 31.07.2014, № 269/2014 от 17.03.2014, </a:t>
            </a:r>
          </a:p>
          <a:p>
            <a:pPr marL="268288" indent="-268288" algn="just"/>
            <a:r>
              <a:rPr lang="ru-RU" sz="1600" kern="1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6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  </a:t>
            </a:r>
            <a:r>
              <a:rPr lang="en-US" sz="12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FAQ about sanctions against Russia // Federal Ministry for Economic Affairs and Climate Action (Germany)</a:t>
            </a:r>
            <a:r>
              <a:rPr lang="ru-RU" sz="1200" kern="1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,</a:t>
            </a:r>
            <a:r>
              <a:rPr lang="en-US" sz="1200" kern="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MulishRoman-Regular"/>
              </a:rPr>
              <a:t> </a:t>
            </a:r>
            <a:endParaRPr lang="ru-RU" sz="1200" kern="0" dirty="0" smtClean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  <a:cs typeface="MulishRoman-Regular"/>
            </a:endParaRPr>
          </a:p>
          <a:p>
            <a:pPr marL="268288" indent="-268288" algn="just"/>
            <a:r>
              <a:rPr lang="ru-RU" sz="1200" kern="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MulishRoman-Regular"/>
              </a:rPr>
              <a:t> </a:t>
            </a:r>
            <a:r>
              <a:rPr lang="ru-RU" sz="1200" kern="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MulishRoman-Regular"/>
              </a:rPr>
              <a:t>   Решения: </a:t>
            </a:r>
            <a:r>
              <a:rPr lang="en-US" sz="1200" kern="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MulishRoman-Regular"/>
              </a:rPr>
              <a:t>C-72/15, PJSC </a:t>
            </a:r>
            <a:r>
              <a:rPr lang="en-US" sz="1200" kern="0" dirty="0" err="1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MulishRoman-Regular"/>
              </a:rPr>
              <a:t>Rosneft</a:t>
            </a:r>
            <a:r>
              <a:rPr lang="en-US" sz="1200" kern="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MulishRoman-Regular"/>
              </a:rPr>
              <a:t> Oil Company v Her Majesty's Treasury and Others, (2017) ECLI:EU:C:2017:236</a:t>
            </a:r>
            <a:r>
              <a:rPr lang="ru-RU" sz="1200" kern="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MulishRoman-Regular"/>
              </a:rPr>
              <a:t>, </a:t>
            </a:r>
            <a:r>
              <a:rPr lang="en-US" sz="1200" kern="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MulishRoman-Regular"/>
              </a:rPr>
              <a:t>T-715/14, PAO </a:t>
            </a:r>
            <a:r>
              <a:rPr lang="en-US" sz="1200" kern="0" dirty="0" err="1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MulishRoman-Regular"/>
              </a:rPr>
              <a:t>Rosneft</a:t>
            </a:r>
            <a:r>
              <a:rPr lang="en-US" sz="1200" kern="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MulishRoman-Regular"/>
              </a:rPr>
              <a:t> Oil Company v Council, (2018) EU:T:2018:544</a:t>
            </a:r>
            <a:r>
              <a:rPr lang="ru-RU" sz="1600" kern="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MulishRoman-Regular"/>
              </a:rPr>
              <a:t>.</a:t>
            </a:r>
            <a:endParaRPr lang="ru-RU" sz="1600" kern="0" dirty="0" smtClean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  <a:cs typeface="MulishRoman-Regular"/>
            </a:endParaRPr>
          </a:p>
          <a:p>
            <a:pPr algn="just"/>
            <a:endParaRPr lang="ru-RU" sz="1200" i="1" kern="0" dirty="0" smtClean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  <a:cs typeface="MulishRoman-Regular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Доступ к качественному правосудию и </a:t>
            </a:r>
            <a:r>
              <a:rPr lang="ru-RU" sz="1600" dirty="0" err="1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юр.услугам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.</a:t>
            </a:r>
            <a:endParaRPr lang="ru-RU" dirty="0" smtClean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8364632" y="2570481"/>
            <a:ext cx="3420000" cy="37548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Проарбитрабельность юрисдикции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анкционные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риски: доступность оплаты платежей, выбор</a:t>
            </a:r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а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</a:t>
            </a:r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арбитров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Ускоренные процедуры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Чрезвычайный арбитр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татус </a:t>
            </a:r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ПДАУ в 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РФ*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algn="just"/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Азиатские институты (</a:t>
            </a:r>
            <a:r>
              <a:rPr lang="en-US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HKIAC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(Гонконг)</a:t>
            </a:r>
            <a:r>
              <a:rPr lang="en-US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, SIAC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(Сингапур)</a:t>
            </a:r>
            <a:r>
              <a:rPr lang="en-US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, CIETAC (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Китай), </a:t>
            </a:r>
            <a:r>
              <a:rPr lang="en-US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DIAC (</a:t>
            </a:r>
            <a:r>
              <a:rPr lang="ru-RU" sz="16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ОАЭ)</a:t>
            </a:r>
          </a:p>
          <a:p>
            <a:pPr algn="just"/>
            <a:endParaRPr lang="ru-RU" sz="16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  <a:p>
            <a:pPr algn="just"/>
            <a:r>
              <a:rPr lang="ru-RU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Альтернативы: </a:t>
            </a:r>
            <a:r>
              <a:rPr lang="ru-RU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JNQCRB+Manrope Regular"/>
              </a:rPr>
              <a:t>РФ, </a:t>
            </a:r>
            <a:r>
              <a:rPr lang="ru-RU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НГ, </a:t>
            </a:r>
            <a:r>
              <a:rPr lang="en-US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LKHPAG+Manrope Regular"/>
              </a:rPr>
              <a:t>CRCICA</a:t>
            </a:r>
            <a:r>
              <a:rPr lang="en-US" sz="1200" spc="12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LKHPAG+Manrope Regular"/>
              </a:rPr>
              <a:t> </a:t>
            </a:r>
            <a:r>
              <a:rPr lang="en-US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JNQCRB+Manrope Regular"/>
              </a:rPr>
              <a:t>(</a:t>
            </a:r>
            <a:r>
              <a:rPr lang="ru-RU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JNQCRB+Manrope Regular"/>
              </a:rPr>
              <a:t>Египет), </a:t>
            </a:r>
            <a:r>
              <a:rPr lang="en-US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LKHPAG+Manrope Regular"/>
              </a:rPr>
              <a:t>ISTAC</a:t>
            </a:r>
            <a:r>
              <a:rPr lang="en-US" sz="1200" spc="22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LKHPAG+Manrope Regular"/>
              </a:rPr>
              <a:t> </a:t>
            </a:r>
            <a:r>
              <a:rPr lang="en-US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JNQCRB+Manrope Regular"/>
              </a:rPr>
              <a:t>(</a:t>
            </a:r>
            <a:r>
              <a:rPr lang="ru-RU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JNQCRB+Manrope Regular"/>
              </a:rPr>
              <a:t>Турция), </a:t>
            </a:r>
            <a:r>
              <a:rPr lang="en-US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LKHPAG+Manrope Regular"/>
              </a:rPr>
              <a:t>KLRCA</a:t>
            </a:r>
            <a:r>
              <a:rPr lang="en-US" sz="1200" spc="404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LKHPAG+Manrope Regular"/>
              </a:rPr>
              <a:t> </a:t>
            </a:r>
            <a:r>
              <a:rPr lang="en-US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JNQCRB+Manrope Regular"/>
              </a:rPr>
              <a:t>(</a:t>
            </a:r>
            <a:r>
              <a:rPr lang="ru-RU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JNQCRB+Manrope Regular"/>
              </a:rPr>
              <a:t>Малайзия), </a:t>
            </a:r>
            <a:r>
              <a:rPr lang="en-US" sz="12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LKHPAG+Manrope Regular"/>
              </a:rPr>
              <a:t>Ad </a:t>
            </a:r>
            <a:r>
              <a:rPr lang="en-US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LKHPAG+Manrope Regular"/>
              </a:rPr>
              <a:t>hoc</a:t>
            </a:r>
            <a:r>
              <a:rPr lang="ru-RU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LKHPAG+Manrope Regular"/>
              </a:rPr>
              <a:t> </a:t>
            </a:r>
            <a:r>
              <a:rPr lang="ru-RU" sz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JNQCRB+Manrope Regular"/>
              </a:rPr>
              <a:t>или сложные оговорки </a:t>
            </a:r>
            <a:endParaRPr lang="ru-RU" sz="12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4456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363" y="195866"/>
            <a:ext cx="11235268" cy="424983"/>
          </a:xfrm>
        </p:spPr>
        <p:txBody>
          <a:bodyPr/>
          <a:lstStyle/>
          <a:p>
            <a:r>
              <a:rPr lang="ru-RU" sz="2133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РАВНИТЕЛЬНАЯ ХАРАКТЕРИСТИКА ПОДХОДОВ К ОПЛАТЕ АРБИТРАЖЕЙ</a:t>
            </a:r>
            <a:endParaRPr lang="ru-RU" sz="2133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478364" y="6525301"/>
            <a:ext cx="400561" cy="253644"/>
          </a:xfrm>
        </p:spPr>
        <p:txBody>
          <a:bodyPr/>
          <a:lstStyle/>
          <a:p>
            <a:fld id="{31ED88B6-9D2D-479B-ABA6-BAE9EF28FCC0}" type="slidenum">
              <a:rPr lang="ru-RU" smtClean="0">
                <a:latin typeface="Century Gothic" panose="020B0502020202020204" pitchFamily="34" charset="0"/>
              </a:rPr>
              <a:pPr/>
              <a:t>3</a:t>
            </a:fld>
            <a:endParaRPr lang="ru-RU" dirty="0">
              <a:latin typeface="Century Gothic" panose="020B0502020202020204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 bwMode="auto">
          <a:xfrm>
            <a:off x="478363" y="2388141"/>
            <a:ext cx="1677024" cy="704876"/>
          </a:xfrm>
          <a:prstGeom prst="roundRect">
            <a:avLst/>
          </a:prstGeom>
          <a:gradFill>
            <a:gsLst>
              <a:gs pos="0">
                <a:schemeClr val="tx2">
                  <a:alpha val="65000"/>
                </a:schemeClr>
              </a:gs>
              <a:gs pos="45000">
                <a:schemeClr val="accent2">
                  <a:alpha val="45000"/>
                </a:schemeClr>
              </a:gs>
              <a:gs pos="100000">
                <a:schemeClr val="accent1">
                  <a:alpha val="44000"/>
                </a:schemeClr>
              </a:gs>
            </a:gsLst>
            <a:lin ang="16200000" scaled="0"/>
          </a:gradFill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Необходимость прохождения процедуры </a:t>
            </a:r>
            <a:r>
              <a:rPr lang="ru-RU" sz="1100" dirty="0" err="1">
                <a:solidFill>
                  <a:srgbClr val="FFFFFF"/>
                </a:solidFill>
                <a:latin typeface="Century Gothic" panose="020B0502020202020204" pitchFamily="34" charset="0"/>
              </a:rPr>
              <a:t>комплайенс</a:t>
            </a:r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 / </a:t>
            </a:r>
            <a:r>
              <a:rPr lang="en-US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KYC</a:t>
            </a:r>
            <a:endParaRPr lang="ru-RU" sz="11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 bwMode="auto">
          <a:xfrm>
            <a:off x="478363" y="3209327"/>
            <a:ext cx="1677024" cy="704876"/>
          </a:xfrm>
          <a:prstGeom prst="roundRect">
            <a:avLst/>
          </a:prstGeom>
          <a:gradFill>
            <a:gsLst>
              <a:gs pos="0">
                <a:schemeClr val="tx2">
                  <a:alpha val="65000"/>
                </a:schemeClr>
              </a:gs>
              <a:gs pos="45000">
                <a:schemeClr val="accent2">
                  <a:alpha val="45000"/>
                </a:schemeClr>
              </a:gs>
              <a:gs pos="100000">
                <a:schemeClr val="accent1">
                  <a:alpha val="44000"/>
                </a:schemeClr>
              </a:gs>
            </a:gsLst>
            <a:lin ang="16200000" scaled="0"/>
          </a:gradFill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Платежи </a:t>
            </a:r>
          </a:p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от третьих лиц</a:t>
            </a:r>
          </a:p>
        </p:txBody>
      </p:sp>
      <p:sp>
        <p:nvSpPr>
          <p:cNvPr id="17" name="Скругленный прямоугольник 16"/>
          <p:cNvSpPr/>
          <p:nvPr/>
        </p:nvSpPr>
        <p:spPr bwMode="auto">
          <a:xfrm>
            <a:off x="478363" y="4029889"/>
            <a:ext cx="1677024" cy="704876"/>
          </a:xfrm>
          <a:prstGeom prst="roundRect">
            <a:avLst/>
          </a:prstGeom>
          <a:gradFill>
            <a:gsLst>
              <a:gs pos="0">
                <a:schemeClr val="tx2">
                  <a:alpha val="65000"/>
                </a:schemeClr>
              </a:gs>
              <a:gs pos="45000">
                <a:schemeClr val="accent2">
                  <a:alpha val="45000"/>
                </a:schemeClr>
              </a:gs>
              <a:gs pos="100000">
                <a:schemeClr val="accent1">
                  <a:alpha val="44000"/>
                </a:schemeClr>
              </a:gs>
            </a:gsLst>
            <a:lin ang="16200000" scaled="0"/>
          </a:gradFill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Возможность продления срока оплаты</a:t>
            </a:r>
          </a:p>
        </p:txBody>
      </p:sp>
      <p:sp>
        <p:nvSpPr>
          <p:cNvPr id="18" name="Скругленный прямоугольник 17"/>
          <p:cNvSpPr/>
          <p:nvPr/>
        </p:nvSpPr>
        <p:spPr bwMode="auto">
          <a:xfrm>
            <a:off x="478363" y="4853685"/>
            <a:ext cx="1677024" cy="704876"/>
          </a:xfrm>
          <a:prstGeom prst="roundRect">
            <a:avLst/>
          </a:prstGeom>
          <a:gradFill>
            <a:gsLst>
              <a:gs pos="0">
                <a:schemeClr val="tx2">
                  <a:alpha val="65000"/>
                </a:schemeClr>
              </a:gs>
              <a:gs pos="45000">
                <a:schemeClr val="accent2">
                  <a:alpha val="45000"/>
                </a:schemeClr>
              </a:gs>
              <a:gs pos="100000">
                <a:schemeClr val="accent1">
                  <a:alpha val="44000"/>
                </a:schemeClr>
              </a:gs>
            </a:gsLst>
            <a:lin ang="16200000" scaled="0"/>
          </a:gradFill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Валюта платежа</a:t>
            </a:r>
          </a:p>
        </p:txBody>
      </p:sp>
      <p:pic>
        <p:nvPicPr>
          <p:cNvPr id="46" name="Рисунок 45"/>
          <p:cNvPicPr/>
          <p:nvPr/>
        </p:nvPicPr>
        <p:blipFill rotWithShape="1">
          <a:blip r:embed="rId2"/>
          <a:srcRect l="1668" t="13227" r="84862" b="73627"/>
          <a:stretch/>
        </p:blipFill>
        <p:spPr bwMode="auto">
          <a:xfrm>
            <a:off x="2596873" y="774600"/>
            <a:ext cx="1166149" cy="6398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7" name="Рисунок 46"/>
          <p:cNvPicPr/>
          <p:nvPr/>
        </p:nvPicPr>
        <p:blipFill rotWithShape="1">
          <a:blip r:embed="rId3"/>
          <a:srcRect l="770" t="10035" r="86147" b="81072"/>
          <a:stretch/>
        </p:blipFill>
        <p:spPr bwMode="auto">
          <a:xfrm>
            <a:off x="4069107" y="787531"/>
            <a:ext cx="1281020" cy="6398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1" name="Рисунок 50"/>
          <p:cNvPicPr/>
          <p:nvPr/>
        </p:nvPicPr>
        <p:blipFill rotWithShape="1">
          <a:blip r:embed="rId4"/>
          <a:srcRect l="5644" t="15279" r="73704" b="77879"/>
          <a:stretch/>
        </p:blipFill>
        <p:spPr bwMode="auto">
          <a:xfrm>
            <a:off x="6881978" y="843024"/>
            <a:ext cx="1722257" cy="55395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4" name="Picture 2" descr="Welcome to the Swiss Arbitration Centre – Cc-Ti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14"/>
          <a:stretch/>
        </p:blipFill>
        <p:spPr bwMode="auto">
          <a:xfrm>
            <a:off x="5544894" y="799631"/>
            <a:ext cx="1255667" cy="640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Скругленный прямоугольник 54"/>
          <p:cNvSpPr/>
          <p:nvPr/>
        </p:nvSpPr>
        <p:spPr bwMode="auto">
          <a:xfrm>
            <a:off x="478363" y="1531258"/>
            <a:ext cx="1677024" cy="704876"/>
          </a:xfrm>
          <a:prstGeom prst="roundRect">
            <a:avLst/>
          </a:prstGeom>
          <a:gradFill>
            <a:gsLst>
              <a:gs pos="0">
                <a:schemeClr val="tx2">
                  <a:alpha val="65000"/>
                </a:schemeClr>
              </a:gs>
              <a:gs pos="45000">
                <a:schemeClr val="accent2">
                  <a:alpha val="45000"/>
                </a:schemeClr>
              </a:gs>
              <a:gs pos="100000">
                <a:schemeClr val="accent1">
                  <a:alpha val="44000"/>
                </a:schemeClr>
              </a:gs>
            </a:gsLst>
            <a:lin ang="16200000" scaled="0"/>
          </a:gradFill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Возможность оплаты </a:t>
            </a:r>
          </a:p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от российских лиц</a:t>
            </a:r>
          </a:p>
        </p:txBody>
      </p:sp>
      <p:pic>
        <p:nvPicPr>
          <p:cNvPr id="57" name="Рисунок 56"/>
          <p:cNvPicPr/>
          <p:nvPr/>
        </p:nvPicPr>
        <p:blipFill rotWithShape="1">
          <a:blip r:embed="rId6"/>
          <a:srcRect l="41177" t="9806" r="46509" b="80844"/>
          <a:stretch/>
        </p:blipFill>
        <p:spPr bwMode="auto">
          <a:xfrm>
            <a:off x="8782734" y="829097"/>
            <a:ext cx="1187067" cy="58180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9" name="Скругленный прямоугольник 58"/>
          <p:cNvSpPr/>
          <p:nvPr/>
        </p:nvSpPr>
        <p:spPr bwMode="auto">
          <a:xfrm>
            <a:off x="2485556" y="1531258"/>
            <a:ext cx="1388789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endParaRPr lang="ru-RU" sz="11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97" name="Скругленный прямоугольник 96"/>
          <p:cNvSpPr/>
          <p:nvPr/>
        </p:nvSpPr>
        <p:spPr bwMode="auto">
          <a:xfrm>
            <a:off x="2485555" y="1531258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Да</a:t>
            </a:r>
          </a:p>
        </p:txBody>
      </p:sp>
      <p:sp>
        <p:nvSpPr>
          <p:cNvPr id="99" name="Скругленный прямоугольник 98"/>
          <p:cNvSpPr/>
          <p:nvPr/>
        </p:nvSpPr>
        <p:spPr bwMode="auto">
          <a:xfrm>
            <a:off x="2485553" y="4850474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en-US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EUR</a:t>
            </a:r>
            <a:endParaRPr lang="ru-RU" sz="11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00" name="Скругленный прямоугольник 99"/>
          <p:cNvSpPr/>
          <p:nvPr/>
        </p:nvSpPr>
        <p:spPr bwMode="auto">
          <a:xfrm>
            <a:off x="2485555" y="2393686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Если лицо подпадает под санкции</a:t>
            </a:r>
          </a:p>
        </p:txBody>
      </p:sp>
      <p:sp>
        <p:nvSpPr>
          <p:cNvPr id="101" name="Скругленный прямоугольник 100"/>
          <p:cNvSpPr/>
          <p:nvPr/>
        </p:nvSpPr>
        <p:spPr bwMode="auto">
          <a:xfrm>
            <a:off x="2485555" y="3209327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Возможно в виде исключения</a:t>
            </a:r>
          </a:p>
        </p:txBody>
      </p:sp>
      <p:sp>
        <p:nvSpPr>
          <p:cNvPr id="102" name="Скругленный прямоугольник 101"/>
          <p:cNvSpPr/>
          <p:nvPr/>
        </p:nvSpPr>
        <p:spPr bwMode="auto">
          <a:xfrm>
            <a:off x="2485554" y="4034833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Нет</a:t>
            </a:r>
          </a:p>
        </p:txBody>
      </p:sp>
      <p:sp>
        <p:nvSpPr>
          <p:cNvPr id="104" name="Скругленный прямоугольник 103"/>
          <p:cNvSpPr/>
          <p:nvPr/>
        </p:nvSpPr>
        <p:spPr bwMode="auto">
          <a:xfrm>
            <a:off x="4015222" y="1531258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Да</a:t>
            </a:r>
          </a:p>
        </p:txBody>
      </p:sp>
      <p:sp>
        <p:nvSpPr>
          <p:cNvPr id="105" name="Скругленный прямоугольник 104"/>
          <p:cNvSpPr/>
          <p:nvPr/>
        </p:nvSpPr>
        <p:spPr bwMode="auto">
          <a:xfrm>
            <a:off x="4015223" y="4850474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en-US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EUR</a:t>
            </a:r>
            <a:endParaRPr lang="ru-RU" sz="11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06" name="Скругленный прямоугольник 105"/>
          <p:cNvSpPr/>
          <p:nvPr/>
        </p:nvSpPr>
        <p:spPr bwMode="auto">
          <a:xfrm>
            <a:off x="4015226" y="2393686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Если лицо подпадает под санкции</a:t>
            </a:r>
          </a:p>
        </p:txBody>
      </p:sp>
      <p:sp>
        <p:nvSpPr>
          <p:cNvPr id="107" name="Скругленный прямоугольник 106"/>
          <p:cNvSpPr/>
          <p:nvPr/>
        </p:nvSpPr>
        <p:spPr bwMode="auto">
          <a:xfrm>
            <a:off x="4015226" y="3209327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Да</a:t>
            </a:r>
          </a:p>
        </p:txBody>
      </p:sp>
      <p:sp>
        <p:nvSpPr>
          <p:cNvPr id="108" name="Скругленный прямоугольник 107"/>
          <p:cNvSpPr/>
          <p:nvPr/>
        </p:nvSpPr>
        <p:spPr bwMode="auto">
          <a:xfrm>
            <a:off x="4015225" y="4034833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 Да</a:t>
            </a:r>
          </a:p>
        </p:txBody>
      </p:sp>
      <p:sp>
        <p:nvSpPr>
          <p:cNvPr id="109" name="Скругленный прямоугольник 108"/>
          <p:cNvSpPr/>
          <p:nvPr/>
        </p:nvSpPr>
        <p:spPr bwMode="auto">
          <a:xfrm>
            <a:off x="8604238" y="1531258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Да</a:t>
            </a:r>
          </a:p>
        </p:txBody>
      </p:sp>
      <p:sp>
        <p:nvSpPr>
          <p:cNvPr id="110" name="Скругленный прямоугольник 109"/>
          <p:cNvSpPr/>
          <p:nvPr/>
        </p:nvSpPr>
        <p:spPr bwMode="auto">
          <a:xfrm>
            <a:off x="8604235" y="4850474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SGD / в любой другой валюте</a:t>
            </a:r>
          </a:p>
        </p:txBody>
      </p:sp>
      <p:sp>
        <p:nvSpPr>
          <p:cNvPr id="111" name="Скругленный прямоугольник 110"/>
          <p:cNvSpPr/>
          <p:nvPr/>
        </p:nvSpPr>
        <p:spPr bwMode="auto">
          <a:xfrm>
            <a:off x="8604238" y="2393686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>
                <a:solidFill>
                  <a:srgbClr val="FFFFFF"/>
                </a:solidFill>
                <a:latin typeface="Century Gothic" panose="020B0502020202020204" pitchFamily="34" charset="0"/>
              </a:rPr>
              <a:t>Если лицо подпадает под санкции</a:t>
            </a:r>
            <a:endParaRPr lang="ru-RU" sz="11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12" name="Скругленный прямоугольник 111"/>
          <p:cNvSpPr/>
          <p:nvPr/>
        </p:nvSpPr>
        <p:spPr bwMode="auto">
          <a:xfrm>
            <a:off x="8604238" y="3209327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Возможно в виде исключения</a:t>
            </a:r>
          </a:p>
        </p:txBody>
      </p:sp>
      <p:sp>
        <p:nvSpPr>
          <p:cNvPr id="113" name="Скругленный прямоугольник 112"/>
          <p:cNvSpPr/>
          <p:nvPr/>
        </p:nvSpPr>
        <p:spPr bwMode="auto">
          <a:xfrm>
            <a:off x="8604237" y="4034833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Да </a:t>
            </a:r>
          </a:p>
        </p:txBody>
      </p:sp>
      <p:sp>
        <p:nvSpPr>
          <p:cNvPr id="114" name="Скругленный прямоугольник 113"/>
          <p:cNvSpPr/>
          <p:nvPr/>
        </p:nvSpPr>
        <p:spPr bwMode="auto">
          <a:xfrm>
            <a:off x="7074567" y="1531258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Да </a:t>
            </a:r>
          </a:p>
        </p:txBody>
      </p:sp>
      <p:sp>
        <p:nvSpPr>
          <p:cNvPr id="115" name="Скругленный прямоугольник 114"/>
          <p:cNvSpPr/>
          <p:nvPr/>
        </p:nvSpPr>
        <p:spPr bwMode="auto">
          <a:xfrm>
            <a:off x="7074565" y="4850474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en-US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EUR</a:t>
            </a:r>
            <a:endParaRPr lang="ru-RU" sz="11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16" name="Скругленный прямоугольник 115"/>
          <p:cNvSpPr/>
          <p:nvPr/>
        </p:nvSpPr>
        <p:spPr bwMode="auto">
          <a:xfrm>
            <a:off x="7074567" y="2393686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Если лицо подпадает под санкции</a:t>
            </a:r>
          </a:p>
        </p:txBody>
      </p:sp>
      <p:sp>
        <p:nvSpPr>
          <p:cNvPr id="117" name="Скругленный прямоугольник 116"/>
          <p:cNvSpPr/>
          <p:nvPr/>
        </p:nvSpPr>
        <p:spPr bwMode="auto">
          <a:xfrm>
            <a:off x="7074567" y="3209327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Да</a:t>
            </a:r>
          </a:p>
        </p:txBody>
      </p:sp>
      <p:sp>
        <p:nvSpPr>
          <p:cNvPr id="118" name="Скругленный прямоугольник 117"/>
          <p:cNvSpPr/>
          <p:nvPr/>
        </p:nvSpPr>
        <p:spPr bwMode="auto">
          <a:xfrm>
            <a:off x="7074566" y="4034833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Да </a:t>
            </a:r>
          </a:p>
        </p:txBody>
      </p:sp>
      <p:sp>
        <p:nvSpPr>
          <p:cNvPr id="119" name="Скругленный прямоугольник 118"/>
          <p:cNvSpPr/>
          <p:nvPr/>
        </p:nvSpPr>
        <p:spPr bwMode="auto">
          <a:xfrm>
            <a:off x="5544897" y="1531258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>
                <a:solidFill>
                  <a:srgbClr val="FFFFFF"/>
                </a:solidFill>
                <a:latin typeface="Century Gothic" panose="020B0502020202020204" pitchFamily="34" charset="0"/>
              </a:rPr>
              <a:t>Да</a:t>
            </a:r>
            <a:endParaRPr lang="ru-RU" sz="11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20" name="Скругленный прямоугольник 119"/>
          <p:cNvSpPr/>
          <p:nvPr/>
        </p:nvSpPr>
        <p:spPr bwMode="auto">
          <a:xfrm>
            <a:off x="5544894" y="4850474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en-US" sz="1100">
                <a:solidFill>
                  <a:srgbClr val="FFFFFF"/>
                </a:solidFill>
                <a:latin typeface="Century Gothic" panose="020B0502020202020204" pitchFamily="34" charset="0"/>
              </a:rPr>
              <a:t>CHF</a:t>
            </a:r>
            <a:endParaRPr lang="ru-RU" sz="11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21" name="Скругленный прямоугольник 120"/>
          <p:cNvSpPr/>
          <p:nvPr/>
        </p:nvSpPr>
        <p:spPr bwMode="auto">
          <a:xfrm>
            <a:off x="5544897" y="2393686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Если лицо подпадает под санкции</a:t>
            </a:r>
          </a:p>
        </p:txBody>
      </p:sp>
      <p:sp>
        <p:nvSpPr>
          <p:cNvPr id="122" name="Скругленный прямоугольник 121"/>
          <p:cNvSpPr/>
          <p:nvPr/>
        </p:nvSpPr>
        <p:spPr bwMode="auto">
          <a:xfrm>
            <a:off x="5544897" y="3209327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Нет</a:t>
            </a:r>
          </a:p>
        </p:txBody>
      </p:sp>
      <p:sp>
        <p:nvSpPr>
          <p:cNvPr id="123" name="Скругленный прямоугольник 122"/>
          <p:cNvSpPr/>
          <p:nvPr/>
        </p:nvSpPr>
        <p:spPr bwMode="auto">
          <a:xfrm>
            <a:off x="5544895" y="4034833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Да</a:t>
            </a:r>
          </a:p>
        </p:txBody>
      </p:sp>
      <p:sp>
        <p:nvSpPr>
          <p:cNvPr id="129" name="Скругленный прямоугольник 128"/>
          <p:cNvSpPr/>
          <p:nvPr/>
        </p:nvSpPr>
        <p:spPr bwMode="auto">
          <a:xfrm>
            <a:off x="10133909" y="1531258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Да</a:t>
            </a:r>
          </a:p>
        </p:txBody>
      </p:sp>
      <p:sp>
        <p:nvSpPr>
          <p:cNvPr id="130" name="Скругленный прямоугольник 129"/>
          <p:cNvSpPr/>
          <p:nvPr/>
        </p:nvSpPr>
        <p:spPr bwMode="auto">
          <a:xfrm>
            <a:off x="10133906" y="4850474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en-US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TRY </a:t>
            </a:r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/ </a:t>
            </a:r>
            <a:r>
              <a:rPr lang="en-US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USD </a:t>
            </a:r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/ </a:t>
            </a:r>
            <a:r>
              <a:rPr lang="en-US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EUR</a:t>
            </a:r>
            <a:endParaRPr lang="ru-RU" sz="11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31" name="Скругленный прямоугольник 130"/>
          <p:cNvSpPr/>
          <p:nvPr/>
        </p:nvSpPr>
        <p:spPr bwMode="auto">
          <a:xfrm>
            <a:off x="10133909" y="2393686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Нет</a:t>
            </a:r>
          </a:p>
        </p:txBody>
      </p:sp>
      <p:sp>
        <p:nvSpPr>
          <p:cNvPr id="132" name="Скругленный прямоугольник 131"/>
          <p:cNvSpPr/>
          <p:nvPr/>
        </p:nvSpPr>
        <p:spPr bwMode="auto">
          <a:xfrm>
            <a:off x="10133909" y="3209327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Да </a:t>
            </a:r>
          </a:p>
        </p:txBody>
      </p:sp>
      <p:sp>
        <p:nvSpPr>
          <p:cNvPr id="133" name="Скругленный прямоугольник 132"/>
          <p:cNvSpPr/>
          <p:nvPr/>
        </p:nvSpPr>
        <p:spPr bwMode="auto">
          <a:xfrm>
            <a:off x="10133907" y="4034833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Да</a:t>
            </a:r>
          </a:p>
        </p:txBody>
      </p:sp>
      <p:pic>
        <p:nvPicPr>
          <p:cNvPr id="134" name="Рисунок 133"/>
          <p:cNvPicPr/>
          <p:nvPr/>
        </p:nvPicPr>
        <p:blipFill rotWithShape="1">
          <a:blip r:embed="rId7"/>
          <a:srcRect l="6859" t="12534" r="83246" b="80455"/>
          <a:stretch/>
        </p:blipFill>
        <p:spPr bwMode="auto">
          <a:xfrm>
            <a:off x="10269501" y="831507"/>
            <a:ext cx="1117600" cy="57912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8" name="Скругленный прямоугольник 47"/>
          <p:cNvSpPr/>
          <p:nvPr/>
        </p:nvSpPr>
        <p:spPr bwMode="auto">
          <a:xfrm>
            <a:off x="478363" y="5633918"/>
            <a:ext cx="1677024" cy="704876"/>
          </a:xfrm>
          <a:prstGeom prst="roundRect">
            <a:avLst/>
          </a:prstGeom>
          <a:gradFill>
            <a:gsLst>
              <a:gs pos="0">
                <a:schemeClr val="tx2">
                  <a:alpha val="65000"/>
                </a:schemeClr>
              </a:gs>
              <a:gs pos="45000">
                <a:schemeClr val="accent2">
                  <a:alpha val="45000"/>
                </a:schemeClr>
              </a:gs>
              <a:gs pos="100000">
                <a:schemeClr val="accent1">
                  <a:alpha val="44000"/>
                </a:schemeClr>
              </a:gs>
            </a:gsLst>
            <a:lin ang="16200000" scaled="0"/>
          </a:gradFill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100" dirty="0">
                <a:solidFill>
                  <a:srgbClr val="FFFFFF"/>
                </a:solidFill>
                <a:latin typeface="Century Gothic" panose="020B0502020202020204" pitchFamily="34" charset="0"/>
              </a:rPr>
              <a:t>Контакты</a:t>
            </a:r>
          </a:p>
        </p:txBody>
      </p:sp>
      <p:sp>
        <p:nvSpPr>
          <p:cNvPr id="49" name="Скругленный прямоугольник 48"/>
          <p:cNvSpPr/>
          <p:nvPr/>
        </p:nvSpPr>
        <p:spPr bwMode="auto">
          <a:xfrm>
            <a:off x="2485553" y="5630707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en-GB" sz="1000" dirty="0">
                <a:solidFill>
                  <a:srgbClr val="FFFFFF"/>
                </a:solidFill>
                <a:latin typeface="Century Gothic" panose="020B0502020202020204" pitchFamily="34" charset="0"/>
              </a:rPr>
              <a:t>icc@iccwbo.org</a:t>
            </a:r>
            <a:r>
              <a:rPr lang="ru-RU" sz="1000" dirty="0">
                <a:solidFill>
                  <a:srgbClr val="FFFFFF"/>
                </a:solidFill>
                <a:latin typeface="Century Gothic" panose="020B0502020202020204" pitchFamily="34" charset="0"/>
              </a:rPr>
              <a:t> </a:t>
            </a:r>
            <a:r>
              <a:rPr lang="en-GB" sz="1000" dirty="0">
                <a:solidFill>
                  <a:srgbClr val="FFFFFF"/>
                </a:solidFill>
                <a:latin typeface="Century Gothic" panose="020B0502020202020204" pitchFamily="34" charset="0"/>
              </a:rPr>
              <a:t>arb@iccwbo.org</a:t>
            </a:r>
            <a:endParaRPr lang="ru-RU" sz="10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 bwMode="auto">
          <a:xfrm>
            <a:off x="4015223" y="5630707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ru-RU" sz="1000" dirty="0">
                <a:solidFill>
                  <a:srgbClr val="FFFFFF"/>
                </a:solidFill>
                <a:latin typeface="Century Gothic" panose="020B0502020202020204" pitchFamily="34" charset="0"/>
              </a:rPr>
              <a:t>arbitration@sccarbitrationinstitute.co</a:t>
            </a:r>
            <a:r>
              <a:rPr lang="en-US" sz="1000" dirty="0">
                <a:solidFill>
                  <a:srgbClr val="FFFFFF"/>
                </a:solidFill>
                <a:latin typeface="Century Gothic" panose="020B0502020202020204" pitchFamily="34" charset="0"/>
              </a:rPr>
              <a:t>m</a:t>
            </a:r>
          </a:p>
        </p:txBody>
      </p:sp>
      <p:sp>
        <p:nvSpPr>
          <p:cNvPr id="52" name="Скругленный прямоугольник 51"/>
          <p:cNvSpPr/>
          <p:nvPr/>
        </p:nvSpPr>
        <p:spPr bwMode="auto">
          <a:xfrm>
            <a:off x="8604235" y="5630707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en-SG" sz="1000" dirty="0">
                <a:solidFill>
                  <a:srgbClr val="FFFFFF"/>
                </a:solidFill>
                <a:latin typeface="Century Gothic" panose="020B0502020202020204" pitchFamily="34" charset="0"/>
              </a:rPr>
              <a:t>corpcomms@siac.org.sg</a:t>
            </a:r>
            <a:endParaRPr lang="ru-RU" sz="10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 bwMode="auto">
          <a:xfrm>
            <a:off x="7074565" y="5630707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en-US" sz="1000" dirty="0">
                <a:solidFill>
                  <a:srgbClr val="FFFFFF"/>
                </a:solidFill>
                <a:latin typeface="Century Gothic" panose="020B0502020202020204" pitchFamily="34" charset="0"/>
              </a:rPr>
              <a:t>office@viac.eu</a:t>
            </a:r>
            <a:endParaRPr lang="ru-RU" sz="1000" dirty="0">
              <a:solidFill>
                <a:srgbClr val="FFFFFF"/>
              </a:solidFill>
              <a:latin typeface="Century Gothic" panose="020B0502020202020204" pitchFamily="34" charset="0"/>
            </a:endParaRPr>
          </a:p>
          <a:p>
            <a:pPr algn="ctr"/>
            <a:endParaRPr lang="ru-RU" sz="10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56" name="Скругленный прямоугольник 55"/>
          <p:cNvSpPr/>
          <p:nvPr/>
        </p:nvSpPr>
        <p:spPr bwMode="auto">
          <a:xfrm>
            <a:off x="5544894" y="5630707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fr-FR" sz="1000" dirty="0">
                <a:solidFill>
                  <a:srgbClr val="FFFFFF"/>
                </a:solidFill>
                <a:latin typeface="Century Gothic" panose="020B0502020202020204" pitchFamily="34" charset="0"/>
              </a:rPr>
              <a:t>centre@swissarbitration.org</a:t>
            </a:r>
          </a:p>
        </p:txBody>
      </p:sp>
      <p:sp>
        <p:nvSpPr>
          <p:cNvPr id="58" name="Скругленный прямоугольник 57"/>
          <p:cNvSpPr/>
          <p:nvPr/>
        </p:nvSpPr>
        <p:spPr bwMode="auto">
          <a:xfrm>
            <a:off x="10133906" y="5630707"/>
            <a:ext cx="1388791" cy="704876"/>
          </a:xfrm>
          <a:prstGeom prst="roundRect">
            <a:avLst/>
          </a:prstGeom>
          <a:noFill/>
          <a:ln w="19050">
            <a:gradFill flip="none" rotWithShape="1">
              <a:gsLst>
                <a:gs pos="0">
                  <a:schemeClr val="tx2"/>
                </a:gs>
                <a:gs pos="99128">
                  <a:schemeClr val="accent3"/>
                </a:gs>
                <a:gs pos="31000">
                  <a:schemeClr val="accent2"/>
                </a:gs>
                <a:gs pos="79000">
                  <a:schemeClr val="accent1"/>
                </a:gs>
              </a:gsLst>
              <a:lin ang="13200000" scaled="0"/>
              <a:tileRect/>
            </a:gradFill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tIns="72000" bIns="72000" rtlCol="0" anchor="ctr"/>
          <a:lstStyle/>
          <a:p>
            <a:pPr algn="ctr"/>
            <a:r>
              <a:rPr lang="tr-TR" sz="1000" dirty="0">
                <a:solidFill>
                  <a:srgbClr val="FFFFFF"/>
                </a:solidFill>
                <a:latin typeface="Century Gothic" panose="020B0502020202020204" pitchFamily="34" charset="0"/>
              </a:rPr>
              <a:t>info@istac.org.tr</a:t>
            </a:r>
            <a:endParaRPr lang="en-US" sz="10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28736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8D7F8172-3BFF-4599-893B-0E2F43E0C41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93193789"/>
              </p:ext>
            </p:extLst>
          </p:nvPr>
        </p:nvGraphicFramePr>
        <p:xfrm>
          <a:off x="147112" y="620688"/>
          <a:ext cx="11837624" cy="601366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75693">
                  <a:extLst>
                    <a:ext uri="{9D8B030D-6E8A-4147-A177-3AD203B41FA5}">
                      <a16:colId xmlns:a16="http://schemas.microsoft.com/office/drawing/2014/main" val="1425207011"/>
                    </a:ext>
                  </a:extLst>
                </a:gridCol>
                <a:gridCol w="8261931">
                  <a:extLst>
                    <a:ext uri="{9D8B030D-6E8A-4147-A177-3AD203B41FA5}">
                      <a16:colId xmlns:a16="http://schemas.microsoft.com/office/drawing/2014/main" val="546036233"/>
                    </a:ext>
                  </a:extLst>
                </a:gridCol>
              </a:tblGrid>
              <a:tr h="30727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Вопрос</a:t>
                      </a:r>
                      <a:endParaRPr lang="en-US" sz="110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Ответ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5498173"/>
                  </a:ext>
                </a:extLst>
              </a:tr>
              <a:tr h="519799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Основан ли </a:t>
                      </a:r>
                      <a:r>
                        <a:rPr lang="ru-RU" sz="1000" b="1" i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местный закон об арбитраже 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на типовом законе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ЮНСИТРАЛ об арбитраже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b="1" i="0" u="sng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Да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, но имеются незначительные исключения </a:t>
                      </a:r>
                    </a:p>
                    <a:p>
                      <a:pPr algn="l" rtl="0" fontAlgn="b"/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(</a:t>
                      </a:r>
                      <a:r>
                        <a:rPr lang="en-US" sz="1000" i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the Hong Kong Arbitration Ordinance (Cap. 609 of the laws of Hong Kong)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).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018157"/>
                  </a:ext>
                </a:extLst>
              </a:tr>
              <a:tr h="98376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Могут ли стороны </a:t>
                      </a:r>
                      <a:r>
                        <a:rPr lang="ru-RU" sz="1000" b="1" i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исключить право на оспаривание 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и 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может ли такое соглашение полностью исключить возможность отмены арбитражного решения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(в </a:t>
                      </a:r>
                      <a:r>
                        <a:rPr lang="ru-RU" sz="100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т.ч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. по 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основанию публичного порядка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)?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В законе о праве сторон вовсе исключить право на оспаривание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прямо не сказано </a:t>
                      </a:r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(вопрос еще не рассматривался местными судами в силу немногочисленности таких арбитражных оговорок) </a:t>
                      </a:r>
                    </a:p>
                    <a:p>
                      <a:pPr algn="l" rtl="0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Суд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может в любом случае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отменить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решение по ряду оснований, в том числе по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публичному порядку </a:t>
                      </a:r>
                    </a:p>
                    <a:p>
                      <a:pPr algn="l" rtl="0" fontAlgn="b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(</a:t>
                      </a:r>
                      <a:r>
                        <a:rPr lang="en-US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section 81(1) of the Ordinance</a:t>
                      </a:r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).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3060034"/>
                  </a:ext>
                </a:extLst>
              </a:tr>
              <a:tr h="56217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Какой суд компетентен рассматривать </a:t>
                      </a:r>
                      <a:r>
                        <a:rPr lang="ru-RU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заявления об отмене арбитражного решения</a:t>
                      </a:r>
                      <a:r>
                        <a:rPr lang="ru-RU" sz="1000" b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The Court of First Instance of High Court of Hong Kong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0362283"/>
                  </a:ext>
                </a:extLst>
              </a:tr>
              <a:tr h="8063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Особенности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процедуры по отмене решения  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sng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Заявление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- в течение 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3 месяцев 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с момента получения решения. </a:t>
                      </a:r>
                    </a:p>
                    <a:p>
                      <a:pPr algn="l" rtl="0" fontAlgn="b"/>
                      <a:r>
                        <a:rPr lang="ru-RU" sz="1000" b="0" i="0" u="sng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Общий срок процедуры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–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9-12 месяцев 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с момента подачи заявления </a:t>
                      </a:r>
                    </a:p>
                    <a:p>
                      <a:pPr algn="l" rtl="0" fontAlgn="b"/>
                      <a:r>
                        <a:rPr lang="ru-RU" sz="1000" b="0" i="0" u="sng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Представление интересов в местном суде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– только местный юрист (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квалификация по гонконгскому праву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)</a:t>
                      </a:r>
                    </a:p>
                    <a:p>
                      <a:pPr algn="l" rtl="0" fontAlgn="b"/>
                      <a:r>
                        <a:rPr lang="ru-RU" sz="1000" b="0" i="0" u="sng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Сумма расходов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(юр услуги, судебные расходы) – по оценке юр. фирмы 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Gall, 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от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250 до 390 тыс. дол. США.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1249804"/>
                  </a:ext>
                </a:extLst>
              </a:tr>
              <a:tr h="98376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Подлежит ли 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обжалованию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решение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местного суда 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по вопросу об отмене арбитражного решения?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Какова процедура такого обжалования?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Да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, подлежит обжалованию, 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если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Суд первой инстанции разрешит апелляцию. </a:t>
                      </a:r>
                    </a:p>
                    <a:p>
                      <a:pPr algn="l" rtl="0" fontAlgn="b"/>
                      <a:r>
                        <a:rPr lang="ru-RU" sz="1000" u="sng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Заявление на разрешение апелляции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- 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в течение 14 дней 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с момента вынесения решения. </a:t>
                      </a:r>
                    </a:p>
                    <a:p>
                      <a:pPr algn="l" rtl="0" fontAlgn="b"/>
                      <a:r>
                        <a:rPr lang="ru-RU" sz="1000" u="sng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Апелляция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- как вопросы права, так и вопросы фактов. </a:t>
                      </a:r>
                    </a:p>
                    <a:p>
                      <a:pPr algn="l" rtl="0" fontAlgn="b"/>
                      <a:r>
                        <a:rPr lang="ru-RU" sz="1000" u="sng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Сумма расходов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(в случае допуска к апелляции, включая судебные расходы) – по оценке юр. фирмы </a:t>
                      </a:r>
                      <a:r>
                        <a:rPr lang="en-US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Gall,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от 250 до 390 тыс. дол. США.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1089441"/>
                  </a:ext>
                </a:extLst>
              </a:tr>
              <a:tr h="41520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Риски отмены 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арбитражного  решения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Проарбитражный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подход, </a:t>
                      </a:r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риск отмены незначителен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. </a:t>
                      </a:r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Нет основания отмены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, которое используется чаще других. 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7033389"/>
                  </a:ext>
                </a:extLst>
              </a:tr>
              <a:tr h="8063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Могут ли национальные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суды приостановить исполнение арбитражного решения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, если параллельно ведется разбирательство по отмене решения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Могут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, но не 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обязаны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. </a:t>
                      </a:r>
                    </a:p>
                    <a:p>
                      <a:pPr algn="l" rtl="0" fontAlgn="b"/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На 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практике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суды могут просить заявителя 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предоставить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надлежащее обеспечение 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либо 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отсрочить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исполнение</a:t>
                      </a:r>
                      <a:r>
                        <a:rPr lang="ru-RU" sz="10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до момента окончания процедуры об отмене.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686272"/>
                  </a:ext>
                </a:extLst>
              </a:tr>
              <a:tr h="6289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Могут ли местные суды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принять меры 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в поддержку арбитража (в </a:t>
                      </a:r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т.ч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. с иностранным местом арбитража)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Да, как гонконгские, так и материковые суды Китая.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 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</a:rPr>
                        <a:t>Если место арбитража за пределами Гонконга, то меры будут выданы в том случае, если существует вероятность исполнения решения в Гонконге.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8820833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147112" y="110396"/>
            <a:ext cx="136928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ГОНКОНГ</a:t>
            </a:r>
            <a:endParaRPr lang="ru-RU" sz="20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0501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49630" y="312914"/>
            <a:ext cx="159851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ОАЭ, </a:t>
            </a:r>
            <a:r>
              <a:rPr lang="en-US" sz="2000" dirty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DIFC </a:t>
            </a:r>
            <a:endParaRPr lang="ru-RU" sz="20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6577321"/>
              </p:ext>
            </p:extLst>
          </p:nvPr>
        </p:nvGraphicFramePr>
        <p:xfrm>
          <a:off x="263352" y="893016"/>
          <a:ext cx="11775529" cy="574824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416000">
                  <a:extLst>
                    <a:ext uri="{9D8B030D-6E8A-4147-A177-3AD203B41FA5}">
                      <a16:colId xmlns:a16="http://schemas.microsoft.com/office/drawing/2014/main" val="574628940"/>
                    </a:ext>
                  </a:extLst>
                </a:gridCol>
                <a:gridCol w="8359529">
                  <a:extLst>
                    <a:ext uri="{9D8B030D-6E8A-4147-A177-3AD203B41FA5}">
                      <a16:colId xmlns:a16="http://schemas.microsoft.com/office/drawing/2014/main" val="4021413375"/>
                    </a:ext>
                  </a:extLst>
                </a:gridCol>
              </a:tblGrid>
              <a:tr h="447040"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Основан ли местный закон об арбитраже на типовом законе ЮНСИТРАЛ об арбитраже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Да.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5482402"/>
                  </a:ext>
                </a:extLst>
              </a:tr>
              <a:tr h="93472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 ли стороны исключить право на оспаривание и может ли такое соглашение полностью исключить возможность отмены арбитражного решения 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(в </a:t>
                      </a:r>
                      <a:r>
                        <a:rPr lang="ru-RU" sz="10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т.ч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. по основанию публичного порядка)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В законе о праве сторон исключить право на оспаривание прямо не сказано (вопрос еще не рассматривался местными судами в силу немногочисленности таких арбитражных оговорок). Нет ясности, может ли такое соглашение полностью исключить последующую отмену решения по любым основаниям, указанным в законе.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3039873"/>
                  </a:ext>
                </a:extLst>
              </a:tr>
              <a:tr h="44704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Какой суд компетентен рассматривать заявления об отмене арбитражного решения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DIFC Court of First Instance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.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2849740"/>
                  </a:ext>
                </a:extLst>
              </a:tr>
              <a:tr h="628088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Особенности процедуры по отмене решения  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Заявление - в течение 3 месяцев с момента получения решения, если иное не согласовано.</a:t>
                      </a:r>
                    </a:p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Общий срок процедуры – 6-12 месяцев с момента подачи заявления </a:t>
                      </a:r>
                    </a:p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Юридические услуги (при наличии возражений сторон) – по данным юр. фирмы 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Afridi &amp; Angell,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от 50 до 150 тыс. дол. США.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49776"/>
                  </a:ext>
                </a:extLst>
              </a:tr>
              <a:tr h="1299995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Подлежит ли обжалованию 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решение местного суда по вопросу об отмене арбитражного решения? 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Какова процедура такого обжалования?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Да, подлежит обжалованию в 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the DIFC Court of Appeal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, если 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DIFC Court of First Instance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разрешит апелляцию. </a:t>
                      </a:r>
                    </a:p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Повторное ходатайство о разрешении апелляции - в 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the DIFC Court of Appeal .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</a:t>
                      </a:r>
                    </a:p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Апелляция - как вопросы права, так и вопросы фактов. </a:t>
                      </a:r>
                    </a:p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Срок рассмотрения ходатайства о разрешении апелляции – 1-3 месяца.</a:t>
                      </a:r>
                    </a:p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Срок самой апелляции – от 3 до 6 месяцев.</a:t>
                      </a:r>
                      <a:endParaRPr lang="en-US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Пошлина за подачу апелляции – 5 тыс. дол. США (юридически услуги – от 50 до 150 тыс. дол. США), по данным юр. фирмы </a:t>
                      </a:r>
                      <a:r>
                        <a:rPr lang="ru-RU" sz="10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Afridi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&amp; </a:t>
                      </a:r>
                      <a:r>
                        <a:rPr lang="ru-RU" sz="10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Angell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.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715999"/>
                  </a:ext>
                </a:extLst>
              </a:tr>
              <a:tr h="44704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Риски отмены арбитражного  решения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Проарбитражный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подход, риск отмены незначителен. </a:t>
                      </a:r>
                    </a:p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В основном - по публичном порядку и серьезным процессуальным основаниям.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1422114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 ли национальные суды приостановить исполнение арбитражного решения, если параллельно ведется разбирательство по отмене решения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, но не обязаны.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184492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 ли местные суды принять меры в поддержку арбитража (в </a:t>
                      </a:r>
                      <a:r>
                        <a:rPr lang="ru-RU" sz="10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т.ч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. с иностранным местом арбитража)?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Да, могут. По  месту арбитража вне 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DIFC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доказыванию подлежит связь между ОАЭ (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DIFC) 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и арбитражным разбирательством.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635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5102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147112" y="110396"/>
            <a:ext cx="155683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СИНГАПУР</a:t>
            </a:r>
            <a:endParaRPr lang="ru-RU" sz="20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7682470"/>
              </p:ext>
            </p:extLst>
          </p:nvPr>
        </p:nvGraphicFramePr>
        <p:xfrm>
          <a:off x="147112" y="728485"/>
          <a:ext cx="11715704" cy="598530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071576">
                  <a:extLst>
                    <a:ext uri="{9D8B030D-6E8A-4147-A177-3AD203B41FA5}">
                      <a16:colId xmlns:a16="http://schemas.microsoft.com/office/drawing/2014/main" val="1263585096"/>
                    </a:ext>
                  </a:extLst>
                </a:gridCol>
                <a:gridCol w="8644128">
                  <a:extLst>
                    <a:ext uri="{9D8B030D-6E8A-4147-A177-3AD203B41FA5}">
                      <a16:colId xmlns:a16="http://schemas.microsoft.com/office/drawing/2014/main" val="2240006877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Основан ли местный закон об арбитраже на типовом законе ЮНСИТРАЛ об арбитраже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Да. Однако местный закон имеет особенности: дополнительные основания для отмены решения – 1) решение было вынесено под влиянием мошенничества, коррупционных действий; 2) решение противоречит принципам справедливости, если пострадали интересы третьих лиц, не привлеченных к участию в споре. 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9816062"/>
                  </a:ext>
                </a:extLst>
              </a:tr>
              <a:tr h="93472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 ли стороны исключить право на оспаривание и может ли такое соглашение полностью исключить возможность отмены арбитражного решения 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(в </a:t>
                      </a:r>
                      <a:r>
                        <a:rPr lang="ru-RU" sz="10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т.ч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. по основанию публичного порядка)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, в том числе по публичному порядку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(но в законе не прописано и на практике не протестировано судами). 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5903963"/>
                  </a:ext>
                </a:extLst>
              </a:tr>
              <a:tr h="641141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Какой суд компетентен рассматривать заявления об отмене арбитражного решения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The General Division of the High Court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. </a:t>
                      </a:r>
                    </a:p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Стороны могут предусмотреть, что заявление об отмене подлежит рассмотрению в 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the Singapore International Commercial Court (SICC), 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являющемся подразделением 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the High Court of Singapore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(на практике стороны часто передают заявление в 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SICC)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2725996"/>
                  </a:ext>
                </a:extLst>
              </a:tr>
              <a:tr h="93472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Особенности процедуры по отмене решения  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Заявление об отмене подается в течение 3 месяцев  с момента получения решения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.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Представителем в 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the General Division of the High Court 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жет быть только юрист с квалификацией по местному праву. Однако в 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the Singapore International Commercial Court 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жет выступать любое лицо, получившее лицензию. Обычно лицензии предоставляются на постоянной основе (лицензии крайне редко выдаются для конкретного дела) </a:t>
                      </a:r>
                    </a:p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Срок рассмотрения дела в суде первой инстанции -1-2 года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739318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Подлежит ли обжалованию 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решение местного суда по вопросу об отмене арбитражного решения? 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Какова процедура такого обжалования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Решение подлежит обжалованию в 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Court of Appeal.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Право на обжалование не автоматическое (с разрешением на подачу апелляции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)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. </a:t>
                      </a:r>
                    </a:p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Срок рассмотрения дела в  апелляции -1 -2 года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3422393"/>
                  </a:ext>
                </a:extLst>
              </a:tr>
              <a:tr h="44704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Риски отмены арбитражного  решения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Проарбитражный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подход. (риск отмены практически минимален). В случае подачи заявления об отмене и отказа суда в его удовлетворении суд может присудить </a:t>
                      </a:r>
                      <a:r>
                        <a:rPr lang="ru-RU" sz="10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индемнити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в пользу противоположной стороны. 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615969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 ли национальные суды приостановить исполнение арбитражного решения, если параллельно ведется разбирательство по отмене решения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жет, но не обязан. Суд вправе обязать сторону предоставить надлежащее обеспечение.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9281174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 ли местные суды принять меры в поддержку арбитража (в </a:t>
                      </a:r>
                      <a:r>
                        <a:rPr lang="ru-RU" sz="10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т.ч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. с иностранным местом арбитража)?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Да, в том числе по арбитражу с местом вне Сингапура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.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15134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7603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31219" y="294503"/>
            <a:ext cx="12715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ТУРЦИЯ </a:t>
            </a:r>
            <a:r>
              <a:rPr lang="ru-RU" sz="2000" i="1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 </a:t>
            </a:r>
            <a:endParaRPr lang="ru-RU" sz="20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3444256"/>
              </p:ext>
            </p:extLst>
          </p:nvPr>
        </p:nvGraphicFramePr>
        <p:xfrm>
          <a:off x="263352" y="933588"/>
          <a:ext cx="11776662" cy="550233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629921">
                  <a:extLst>
                    <a:ext uri="{9D8B030D-6E8A-4147-A177-3AD203B41FA5}">
                      <a16:colId xmlns:a16="http://schemas.microsoft.com/office/drawing/2014/main" val="242038378"/>
                    </a:ext>
                  </a:extLst>
                </a:gridCol>
                <a:gridCol w="8146741">
                  <a:extLst>
                    <a:ext uri="{9D8B030D-6E8A-4147-A177-3AD203B41FA5}">
                      <a16:colId xmlns:a16="http://schemas.microsoft.com/office/drawing/2014/main" val="2887050782"/>
                    </a:ext>
                  </a:extLst>
                </a:gridCol>
              </a:tblGrid>
              <a:tr h="453817"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Основан ли местный закон об арбитраже на типовом законе ЮНСИТРАЛ об арбитраже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Да.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9971444"/>
                  </a:ext>
                </a:extLst>
              </a:tr>
              <a:tr h="96342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 ли стороны исключить право на оспаривание и может ли такое соглашение полностью исключить возможность отмены арбитражного решения 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(в </a:t>
                      </a:r>
                      <a:r>
                        <a:rPr lang="ru-RU" sz="10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т.ч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. по основанию публичного порядка)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Иностранные лица могут отказаться от такого права путем прямой оговорки в арбитражном соглашении. Турецкие лица не могут исключить право на оспаривание до тех пор, пока решение арбитража не будет вынесено.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593146"/>
                  </a:ext>
                </a:extLst>
              </a:tr>
              <a:tr h="453817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Какой суд компетентен рассматривать заявления об отмене арбитражного решения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Нет специального суда (апелляционные суды по месту жительства/месту имущества ответчика). Если данные критерии не подходят, то 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the Istanbul Regional Appellate Court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.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050005"/>
                  </a:ext>
                </a:extLst>
              </a:tr>
              <a:tr h="960815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Особенности процедуры по отмене решения  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Заявление об отмене подается в течение 30 дней после получения решения. Представителем может быть любое лицо (если стороны выбрали адвоката (не юриста и не юр. фирму), то должен быть юрист с допуском по местному праву).</a:t>
                      </a:r>
                    </a:p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Отдельные основания об отмене решения более широко сформулированы в законе, чем в Типовом законе ЮНСИТРАЛ (например, «нарушение принципа равного отношения к сторонам» вместо критерия «ненадлежащего уведомления»).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5102472"/>
                  </a:ext>
                </a:extLst>
              </a:tr>
              <a:tr h="789688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Подлежит ли обжалованию 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решение местного суда по вопросу об отмене арбитражного решения? 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Какова процедура такого обжалования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Да, решение апелляционного суда подлежит обжалованию в </a:t>
                      </a:r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Court of Cassation 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в течение двух недель с момента получения решения. 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2560793"/>
                  </a:ext>
                </a:extLst>
              </a:tr>
              <a:tr h="301399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Риски отмены арбитражного  решения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В целом </a:t>
                      </a:r>
                      <a:r>
                        <a:rPr lang="ru-RU" sz="10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проарбитражный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подход, однако в законе содержатся широкие формулировки оснований для отмены. 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8121679"/>
                  </a:ext>
                </a:extLst>
              </a:tr>
              <a:tr h="789688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 ли национальные суды приостановить исполнение арбитражного решения, если параллельно ведется разбирательство по отмене решения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Да, по общему правилу, параллельная процедура по отмене решения приостанавливает исполнение решения (суды должны приостановить исполнение). 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468807"/>
                  </a:ext>
                </a:extLst>
              </a:tr>
              <a:tr h="789688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 ли местные суды принять меры в поддержку арбитража (в </a:t>
                      </a:r>
                      <a:r>
                        <a:rPr lang="ru-RU" sz="10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т.ч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. с иностранным местом арбитража)?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Да, могут. По арбитражу с местом вне Турции – отсутствует точная информация.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64543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7964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63352" y="257682"/>
            <a:ext cx="183896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en-US" sz="2400" dirty="0" smtClean="0">
                <a:solidFill>
                  <a:schemeClr val="bg1"/>
                </a:solidFill>
                <a:latin typeface="Arial"/>
              </a:rPr>
              <a:t> </a:t>
            </a:r>
            <a:r>
              <a:rPr lang="ru-RU" sz="20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АЛАЙЗИЯ 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6109959"/>
              </p:ext>
            </p:extLst>
          </p:nvPr>
        </p:nvGraphicFramePr>
        <p:xfrm>
          <a:off x="263352" y="775654"/>
          <a:ext cx="11727896" cy="569113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656792">
                  <a:extLst>
                    <a:ext uri="{9D8B030D-6E8A-4147-A177-3AD203B41FA5}">
                      <a16:colId xmlns:a16="http://schemas.microsoft.com/office/drawing/2014/main" val="2370635883"/>
                    </a:ext>
                  </a:extLst>
                </a:gridCol>
                <a:gridCol w="8071104">
                  <a:extLst>
                    <a:ext uri="{9D8B030D-6E8A-4147-A177-3AD203B41FA5}">
                      <a16:colId xmlns:a16="http://schemas.microsoft.com/office/drawing/2014/main" val="1042840937"/>
                    </a:ext>
                  </a:extLst>
                </a:gridCol>
              </a:tblGrid>
              <a:tr h="582243"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Основан ли местный закон об арбитраже на типовом законе ЮНСИТРАЛ об арбитраже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Да. Особенностью закона является прямое указание в нем, что арбитр может использовать процедуру раскрытия доказательства, допросов под присягой. 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6313011"/>
                  </a:ext>
                </a:extLst>
              </a:tr>
              <a:tr h="1203303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 ли стороны исключить право на оспаривание и может ли такое соглашение полностью исключить возможность отмены арбитражного решения 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(в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т.. 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по основанию публичного порядка)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Нет, не могут.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5229102"/>
                  </a:ext>
                </a:extLst>
              </a:tr>
              <a:tr h="582243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Какой суд компетентен рассматривать заявления об отмене арбитражного решения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Нет специального суда. В большинстве случаев –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the High Court in Kuala Lumpur.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867524"/>
                  </a:ext>
                </a:extLst>
              </a:tr>
              <a:tr h="426979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Особенности процедуры по отмене решения  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Подача заявления –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в течение 90 дней с момента получения решения.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9989639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Подлежит ли обжалованию 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решение местного суда по вопросу об отмене арбитражного решения? 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Какова процедура такого обжалования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Да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.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жно обжаловать в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the Court of Appeal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и затем в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the Federal Court.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269598"/>
                  </a:ext>
                </a:extLst>
              </a:tr>
              <a:tr h="417328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Риски отмены арбитражного  решения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Имеется значительный риск отмены арбитражных решений.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5692173"/>
                  </a:ext>
                </a:extLst>
              </a:tr>
              <a:tr h="93472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 ли национальные суды приостановить исполнение арбитражного решения, если параллельно ведется разбирательство по отмене решения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Если оба процесса идут в Малайзии, то суд, удовлетворивший исполнение решения, должен приостановить исполнение после подачи заявления об отмене. Если заявление об отмене и заявление о приведении решения в исполнение поданы в разных странах, то суд не обязан приостанавливать исполнение решения. </a:t>
                      </a:r>
                    </a:p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Суды могут исполнить арбитражное решение, которое было отменено или приостановлено судами, однако на практике это происходит редко.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6856536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 ли местные суды принять меры в поддержку арбитража (в </a:t>
                      </a:r>
                      <a:r>
                        <a:rPr lang="ru-RU" sz="10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т.ч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. с иностранным местом арбитража)?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Да,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. (в том числе по арбитражу с местом вне Малайзии). Однако меры даются редко: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(</a:t>
                      </a:r>
                      <a:r>
                        <a:rPr lang="en-US" sz="10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i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)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обеспечительная мера запрашивается против третьей стороны, на которую у арбитража нет юрисдикции, (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ii)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вопросы очень срочные, (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iii)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необходимы принудительные полномочия Высокого суда или (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iv)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арбитраж не был сформирован.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21401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267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147113" y="110396"/>
            <a:ext cx="123463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en-US" sz="24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ru-RU" sz="20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</a:rPr>
              <a:t>ИНДИЯ </a:t>
            </a:r>
            <a:endParaRPr lang="ru-RU" sz="2000" dirty="0">
              <a:solidFill>
                <a:schemeClr val="bg1"/>
              </a:solidFill>
              <a:latin typeface="Century Gothic" panose="020B050202020202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4198609"/>
              </p:ext>
            </p:extLst>
          </p:nvPr>
        </p:nvGraphicFramePr>
        <p:xfrm>
          <a:off x="263352" y="807016"/>
          <a:ext cx="11727896" cy="564617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656792">
                  <a:extLst>
                    <a:ext uri="{9D8B030D-6E8A-4147-A177-3AD203B41FA5}">
                      <a16:colId xmlns:a16="http://schemas.microsoft.com/office/drawing/2014/main" val="2370635883"/>
                    </a:ext>
                  </a:extLst>
                </a:gridCol>
                <a:gridCol w="8071104">
                  <a:extLst>
                    <a:ext uri="{9D8B030D-6E8A-4147-A177-3AD203B41FA5}">
                      <a16:colId xmlns:a16="http://schemas.microsoft.com/office/drawing/2014/main" val="1042840937"/>
                    </a:ext>
                  </a:extLst>
                </a:gridCol>
              </a:tblGrid>
              <a:tr h="852277"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Основан ли местный закон об арбитраже на типовом законе ЮНСИТРАЛ об арбитраже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Создана специальная зона (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QFC),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имеющая собственный закон об арбитраже, который основан на Типовом законе ЮНСИТРАЛ об арбитраже. Однако местный закон имеет свои особенности в части проведения арбитража в местном арбитражном институте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QFC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: например, ведется учет арбитражных решений – копия арбитражного решения </a:t>
                      </a:r>
                      <a:r>
                        <a:rPr lang="ru-RU" sz="10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должнаб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быть отправлена в государственные органы (риск нарушения конфиденциальности). 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6313011"/>
                  </a:ext>
                </a:extLst>
              </a:tr>
              <a:tr h="1328155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 ли стороны исключить право на оспаривание и может ли такое соглашение полностью исключить возможность отмены арбитражного решения 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(в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т.. </a:t>
                      </a: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по основанию публичного порядка)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Нет, не могут.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5229102"/>
                  </a:ext>
                </a:extLst>
              </a:tr>
              <a:tr h="814029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Риски отмены арбитражного  решения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Решение международного (а не внутреннего) с индийским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seat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не может быть отменено. Исключить право на обращение в суд с заявлением об отмене внутреннего арбитражного решения нельзя.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269598"/>
                  </a:ext>
                </a:extLst>
              </a:tr>
              <a:tr h="852277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 ли национальные суды приостановить исполнение арбитражного решения, если параллельно ведется разбирательство по отмене решения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Индийские суды вправе (не обязаны) приостановить производство по делу о признании и приведении в исполнение иностранного арбитражного решения до завершения процедуры отмены такого решения. 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5692173"/>
                  </a:ext>
                </a:extLst>
              </a:tr>
              <a:tr h="985405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 ли местные суды принять меры в поддержку арбитража (в </a:t>
                      </a:r>
                      <a:r>
                        <a:rPr lang="ru-RU" sz="10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т.ч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. с иностранным местом арбитража)?</a:t>
                      </a: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естные суды выдают обеспечительные меры в поддержку арбитража, в том числе с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seat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за пределами Индии.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6856536"/>
                  </a:ext>
                </a:extLst>
              </a:tr>
              <a:tr h="814029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Могут ли местные суды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выдавать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anti-suit injunctions</a:t>
                      </a:r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?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 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Индийские суды имеют право издавать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Verdana" panose="020B0604030504040204" pitchFamily="34" charset="0"/>
                          <a:cs typeface="+mn-cs"/>
                        </a:rPr>
                        <a:t>anti-suit injunctions.</a:t>
                      </a:r>
                      <a:endParaRPr lang="ru-RU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21920" marR="121920" marT="60960" marB="6096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21401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26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pn_report">
  <a:themeElements>
    <a:clrScheme name="Новая Айдентика">
      <a:dk1>
        <a:sysClr val="windowText" lastClr="000000"/>
      </a:dk1>
      <a:lt1>
        <a:srgbClr val="FFFFFF"/>
      </a:lt1>
      <a:dk2>
        <a:srgbClr val="2A2F45"/>
      </a:dk2>
      <a:lt2>
        <a:srgbClr val="E7E6E6"/>
      </a:lt2>
      <a:accent1>
        <a:srgbClr val="66E582"/>
      </a:accent1>
      <a:accent2>
        <a:srgbClr val="6BBFEC"/>
      </a:accent2>
      <a:accent3>
        <a:srgbClr val="B5E848"/>
      </a:accent3>
      <a:accent4>
        <a:srgbClr val="FF6455"/>
      </a:accent4>
      <a:accent5>
        <a:srgbClr val="06C98E"/>
      </a:accent5>
      <a:accent6>
        <a:srgbClr val="9FD036"/>
      </a:accent6>
      <a:hlink>
        <a:srgbClr val="3FA1C7"/>
      </a:hlink>
      <a:folHlink>
        <a:srgbClr val="C76362"/>
      </a:folHlink>
    </a:clrScheme>
    <a:fontScheme name="ЭР Новый">
      <a:majorFont>
        <a:latin typeface="Kudryashev Display Contr"/>
        <a:ea typeface=""/>
        <a:cs typeface=""/>
      </a:majorFont>
      <a:minorFont>
        <a:latin typeface="AvantGardeGothicCT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gradFill flip="none" rotWithShape="1">
            <a:gsLst>
              <a:gs pos="99128">
                <a:schemeClr val="accent3"/>
              </a:gs>
              <a:gs pos="0">
                <a:schemeClr val="accent2"/>
              </a:gs>
              <a:gs pos="51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pn_report" id="{651016A0-A3AF-40F6-9425-D72A16CB2CB7}" vid="{848BD82F-86D4-43BE-8936-4C6D72EDE432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pn_report</Template>
  <TotalTime>8646</TotalTime>
  <Words>3837</Words>
  <Application>Microsoft Office PowerPoint</Application>
  <PresentationFormat>Широкоэкранный</PresentationFormat>
  <Paragraphs>362</Paragraphs>
  <Slides>18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32" baseType="lpstr">
      <vt:lpstr>JNQCRB+Manrope Regular</vt:lpstr>
      <vt:lpstr>AvantGardeGothicCTT</vt:lpstr>
      <vt:lpstr>Verdana</vt:lpstr>
      <vt:lpstr>Kudryashev Display Contr</vt:lpstr>
      <vt:lpstr>Century Gothic</vt:lpstr>
      <vt:lpstr>Calibri</vt:lpstr>
      <vt:lpstr>GPN_DIN Regular</vt:lpstr>
      <vt:lpstr>Times New Roman</vt:lpstr>
      <vt:lpstr>Wingdings</vt:lpstr>
      <vt:lpstr>Arial</vt:lpstr>
      <vt:lpstr>MulishRoman-Regular</vt:lpstr>
      <vt:lpstr>LKHPAG+Manrope Regular</vt:lpstr>
      <vt:lpstr>gpn_report</vt:lpstr>
      <vt:lpstr>Слайд think-cell</vt:lpstr>
      <vt:lpstr>Презентация PowerPoint</vt:lpstr>
      <vt:lpstr>Презентация PowerPoint</vt:lpstr>
      <vt:lpstr>СРАВНИТЕЛЬНАЯ ХАРАКТЕРИСТИКА ПОДХОДОВ К ОПЛАТЕ АРБИТРАЖЕ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ИВЛЕЧЕНИЕ АФФИЛИАТОВ В РФ В КАЧЕСТВЕ СООТВЕТЧИКА ПО СТ.248.1 АПК РФ</vt:lpstr>
      <vt:lpstr>Презентация PowerPoint</vt:lpstr>
      <vt:lpstr>Презентация PowerPoint</vt:lpstr>
      <vt:lpstr>Последствие несоблюдения запрета – привлечение к ответственности за неуважение к суду.   - Уголовная ответственность (в т.ч. менеджмента компании и представителей по делу) - Dell Emerging Markets (EMEA) Ltd v Systems Equipment Services SARL  - Штраф, секвестирование активов  Кого могут привлечь?   В деле Renaissance Securities (Cyprus) Ltd v Chlodwig Enterprises Ltd and others [2023] EWHC 3160 английский суд указал, что, помимо директоров и должностных лиц юридического лица, к ответственности за неуважение к суду могут также привлекаться:  → старшие менеджеры  → конечные бенефициары компании  → другие лица  если они сознательно помогают ответчику в нарушении антиискового запрета.   Для привлечения лиц к ответственности за неуважение к суду требуется доказать, что они:  → знали о вынесенном против компании судебном акте и  → совершали действия, способствующие неисполнению судебного акта  Простое бездействие («mere inactivity») по общему правилу не должно наказываться, однако это може зависеть от конкретной формулировки антиискового запрета (Attorney-General for Tuvalu v Philatelic Distribution Corporation Ltd [1990] 1 WLR 926; Dar Al Arkan Real Estate Development Co v Al Refai [2014] EWHC Civ 715).</vt:lpstr>
      <vt:lpstr>Презентация PowerPoint</vt:lpstr>
      <vt:lpstr>Презентация PowerPoint</vt:lpstr>
      <vt:lpstr>СПАСИБО ЗА ВНИМАНИЕ! </vt:lpstr>
    </vt:vector>
  </TitlesOfParts>
  <Company>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Тимофеев Павел Владимирович</dc:creator>
  <cp:lastModifiedBy>Тимофеев Павел Владимирович</cp:lastModifiedBy>
  <cp:revision>420</cp:revision>
  <dcterms:created xsi:type="dcterms:W3CDTF">2024-04-03T14:28:42Z</dcterms:created>
  <dcterms:modified xsi:type="dcterms:W3CDTF">2024-10-11T06:24:09Z</dcterms:modified>
</cp:coreProperties>
</file>